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0" r:id="rId5"/>
  </p:sldMasterIdLst>
  <p:notesMasterIdLst>
    <p:notesMasterId r:id="rId52"/>
  </p:notesMasterIdLst>
  <p:sldIdLst>
    <p:sldId id="298" r:id="rId6"/>
    <p:sldId id="262" r:id="rId7"/>
    <p:sldId id="330" r:id="rId8"/>
    <p:sldId id="331" r:id="rId9"/>
    <p:sldId id="333" r:id="rId10"/>
    <p:sldId id="335" r:id="rId11"/>
    <p:sldId id="336" r:id="rId12"/>
    <p:sldId id="337" r:id="rId13"/>
    <p:sldId id="344" r:id="rId14"/>
    <p:sldId id="342" r:id="rId15"/>
    <p:sldId id="346" r:id="rId16"/>
    <p:sldId id="343" r:id="rId17"/>
    <p:sldId id="338" r:id="rId18"/>
    <p:sldId id="345" r:id="rId19"/>
    <p:sldId id="347" r:id="rId20"/>
    <p:sldId id="353" r:id="rId21"/>
    <p:sldId id="350" r:id="rId22"/>
    <p:sldId id="357" r:id="rId23"/>
    <p:sldId id="261" r:id="rId24"/>
    <p:sldId id="320" r:id="rId25"/>
    <p:sldId id="258" r:id="rId26"/>
    <p:sldId id="355" r:id="rId27"/>
    <p:sldId id="306" r:id="rId28"/>
    <p:sldId id="307" r:id="rId29"/>
    <p:sldId id="310" r:id="rId30"/>
    <p:sldId id="308" r:id="rId31"/>
    <p:sldId id="309" r:id="rId32"/>
    <p:sldId id="311" r:id="rId33"/>
    <p:sldId id="312" r:id="rId34"/>
    <p:sldId id="314" r:id="rId35"/>
    <p:sldId id="315" r:id="rId36"/>
    <p:sldId id="319" r:id="rId37"/>
    <p:sldId id="325" r:id="rId38"/>
    <p:sldId id="271" r:id="rId39"/>
    <p:sldId id="272" r:id="rId40"/>
    <p:sldId id="278" r:id="rId41"/>
    <p:sldId id="273" r:id="rId42"/>
    <p:sldId id="274" r:id="rId43"/>
    <p:sldId id="275" r:id="rId44"/>
    <p:sldId id="277" r:id="rId45"/>
    <p:sldId id="276" r:id="rId46"/>
    <p:sldId id="280" r:id="rId47"/>
    <p:sldId id="281" r:id="rId48"/>
    <p:sldId id="283" r:id="rId49"/>
    <p:sldId id="282" r:id="rId50"/>
    <p:sldId id="284"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425C"/>
    <a:srgbClr val="E329A5"/>
    <a:srgbClr val="99CC00"/>
    <a:srgbClr val="FCA0E2"/>
    <a:srgbClr val="A1F0FB"/>
    <a:srgbClr val="FC0E41"/>
    <a:srgbClr val="CCCC00"/>
    <a:srgbClr val="F0FE9E"/>
    <a:srgbClr val="7720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0027" autoAdjust="0"/>
  </p:normalViewPr>
  <p:slideViewPr>
    <p:cSldViewPr snapToGrid="0">
      <p:cViewPr varScale="1">
        <p:scale>
          <a:sx n="51" d="100"/>
          <a:sy n="51" d="100"/>
        </p:scale>
        <p:origin x="1256" y="52"/>
      </p:cViewPr>
      <p:guideLst/>
    </p:cSldViewPr>
  </p:slideViewPr>
  <p:notesTextViewPr>
    <p:cViewPr>
      <p:scale>
        <a:sx n="1" d="1"/>
        <a:sy n="1" d="1"/>
      </p:scale>
      <p:origin x="0" y="0"/>
    </p:cViewPr>
  </p:notesTextViewPr>
  <p:sorterViewPr>
    <p:cViewPr>
      <p:scale>
        <a:sx n="100" d="100"/>
        <a:sy n="100" d="100"/>
      </p:scale>
      <p:origin x="0" y="-134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diagrams/_rels/data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ata2.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image" Target="../media/image4.png"/></Relationships>
</file>

<file path=ppt/diagrams/_rels/drawing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rawing2.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image" Target="../media/image4.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03EE98-3532-40C4-8374-A757F0055A5A}" type="doc">
      <dgm:prSet loTypeId="urn:microsoft.com/office/officeart/2005/8/layout/venn1" loCatId="relationship" qsTypeId="urn:microsoft.com/office/officeart/2005/8/quickstyle/simple5" qsCatId="simple" csTypeId="urn:microsoft.com/office/officeart/2005/8/colors/colorful5" csCatId="colorful" phldr="1"/>
      <dgm:spPr/>
    </dgm:pt>
    <dgm:pt modelId="{029ED803-24D9-45F7-AC1C-B35F52DC7A66}">
      <dgm:prSet phldrT="[Text]"/>
      <dgm:spPr/>
      <dgm:t>
        <a:bodyPr/>
        <a:lstStyle/>
        <a:p>
          <a:r>
            <a:rPr lang="en-US" dirty="0"/>
            <a:t>Statistics</a:t>
          </a:r>
          <a:endParaRPr lang="en-IN" dirty="0"/>
        </a:p>
      </dgm:t>
    </dgm:pt>
    <dgm:pt modelId="{1B4891F0-7A53-42E0-8C67-ED1F4799EA3D}" type="parTrans" cxnId="{0144B098-A2C0-4777-9636-CFCFF82DD173}">
      <dgm:prSet/>
      <dgm:spPr/>
      <dgm:t>
        <a:bodyPr/>
        <a:lstStyle/>
        <a:p>
          <a:endParaRPr lang="en-IN"/>
        </a:p>
      </dgm:t>
    </dgm:pt>
    <dgm:pt modelId="{89E06BD7-10B2-426E-9596-0278EB1FAE4D}" type="sibTrans" cxnId="{0144B098-A2C0-4777-9636-CFCFF82DD173}">
      <dgm:prSet/>
      <dgm:spPr/>
      <dgm:t>
        <a:bodyPr/>
        <a:lstStyle/>
        <a:p>
          <a:endParaRPr lang="en-IN"/>
        </a:p>
      </dgm:t>
    </dgm:pt>
    <dgm:pt modelId="{DA5FF853-CDDB-4463-9228-16676C2136EE}">
      <dgm:prSet phldrT="[Text]"/>
      <dgm:spPr/>
      <dgm:t>
        <a:bodyPr/>
        <a:lstStyle/>
        <a:p>
          <a:r>
            <a:rPr lang="en-US" dirty="0"/>
            <a:t>Computational</a:t>
          </a:r>
          <a:r>
            <a:rPr lang="en-US" baseline="0" dirty="0"/>
            <a:t> Linguistics</a:t>
          </a:r>
          <a:endParaRPr lang="en-IN" dirty="0"/>
        </a:p>
      </dgm:t>
    </dgm:pt>
    <dgm:pt modelId="{18195C2A-30DE-4091-9598-21A48C04C7A5}" type="parTrans" cxnId="{B0F4DE95-6F3A-47DB-A53B-511C26CC50E8}">
      <dgm:prSet/>
      <dgm:spPr/>
      <dgm:t>
        <a:bodyPr/>
        <a:lstStyle/>
        <a:p>
          <a:endParaRPr lang="en-IN"/>
        </a:p>
      </dgm:t>
    </dgm:pt>
    <dgm:pt modelId="{DF6F63F7-0CB1-43C2-9DB1-F52077D0B5EB}" type="sibTrans" cxnId="{B0F4DE95-6F3A-47DB-A53B-511C26CC50E8}">
      <dgm:prSet/>
      <dgm:spPr/>
      <dgm:t>
        <a:bodyPr/>
        <a:lstStyle/>
        <a:p>
          <a:endParaRPr lang="en-IN"/>
        </a:p>
      </dgm:t>
    </dgm:pt>
    <dgm:pt modelId="{CBDC0C72-102A-48F7-A7EB-881BE66A41D6}">
      <dgm:prSet phldrT="[Text]"/>
      <dgm:spPr/>
      <dgm:t>
        <a:bodyPr/>
        <a:lstStyle/>
        <a:p>
          <a:r>
            <a:rPr lang="en-US" dirty="0"/>
            <a:t>Machine/Deep Learning</a:t>
          </a:r>
          <a:endParaRPr lang="en-IN" dirty="0"/>
        </a:p>
      </dgm:t>
    </dgm:pt>
    <dgm:pt modelId="{0E838D76-5626-4D93-AC9B-D2A4B9B4CC61}" type="parTrans" cxnId="{B3A6FF8B-07B4-4F87-A24B-7AC2027DC19A}">
      <dgm:prSet/>
      <dgm:spPr/>
      <dgm:t>
        <a:bodyPr/>
        <a:lstStyle/>
        <a:p>
          <a:endParaRPr lang="en-IN"/>
        </a:p>
      </dgm:t>
    </dgm:pt>
    <dgm:pt modelId="{1924F620-FF79-4A81-B1F9-39C095C33F28}" type="sibTrans" cxnId="{B3A6FF8B-07B4-4F87-A24B-7AC2027DC19A}">
      <dgm:prSet/>
      <dgm:spPr/>
      <dgm:t>
        <a:bodyPr/>
        <a:lstStyle/>
        <a:p>
          <a:endParaRPr lang="en-IN"/>
        </a:p>
      </dgm:t>
    </dgm:pt>
    <dgm:pt modelId="{64E6725E-3095-44FE-B1E6-F7BEDEA7010C}" type="pres">
      <dgm:prSet presAssocID="{3F03EE98-3532-40C4-8374-A757F0055A5A}" presName="compositeShape" presStyleCnt="0">
        <dgm:presLayoutVars>
          <dgm:chMax val="7"/>
          <dgm:dir/>
          <dgm:resizeHandles val="exact"/>
        </dgm:presLayoutVars>
      </dgm:prSet>
      <dgm:spPr/>
    </dgm:pt>
    <dgm:pt modelId="{550B9EC5-079E-48E4-80D1-225D219A1B7E}" type="pres">
      <dgm:prSet presAssocID="{029ED803-24D9-45F7-AC1C-B35F52DC7A66}" presName="circ1" presStyleLbl="vennNode1" presStyleIdx="0" presStyleCnt="3"/>
      <dgm:spPr/>
    </dgm:pt>
    <dgm:pt modelId="{A676D739-B28F-468A-BF97-15A41BCA3667}" type="pres">
      <dgm:prSet presAssocID="{029ED803-24D9-45F7-AC1C-B35F52DC7A66}" presName="circ1Tx" presStyleLbl="revTx" presStyleIdx="0" presStyleCnt="0">
        <dgm:presLayoutVars>
          <dgm:chMax val="0"/>
          <dgm:chPref val="0"/>
          <dgm:bulletEnabled val="1"/>
        </dgm:presLayoutVars>
      </dgm:prSet>
      <dgm:spPr/>
    </dgm:pt>
    <dgm:pt modelId="{AE8157C3-120E-4AA8-8C81-AC047A5A7250}" type="pres">
      <dgm:prSet presAssocID="{DA5FF853-CDDB-4463-9228-16676C2136EE}" presName="circ2" presStyleLbl="vennNode1" presStyleIdx="1" presStyleCnt="3"/>
      <dgm:spPr/>
    </dgm:pt>
    <dgm:pt modelId="{9F223D4F-8236-4FFF-8DBD-64E6182DC415}" type="pres">
      <dgm:prSet presAssocID="{DA5FF853-CDDB-4463-9228-16676C2136EE}" presName="circ2Tx" presStyleLbl="revTx" presStyleIdx="0" presStyleCnt="0">
        <dgm:presLayoutVars>
          <dgm:chMax val="0"/>
          <dgm:chPref val="0"/>
          <dgm:bulletEnabled val="1"/>
        </dgm:presLayoutVars>
      </dgm:prSet>
      <dgm:spPr/>
    </dgm:pt>
    <dgm:pt modelId="{C2BB32EF-877D-40DC-B3BB-4316C7C5F9F3}" type="pres">
      <dgm:prSet presAssocID="{CBDC0C72-102A-48F7-A7EB-881BE66A41D6}" presName="circ3" presStyleLbl="vennNode1" presStyleIdx="2" presStyleCnt="3"/>
      <dgm:spPr/>
    </dgm:pt>
    <dgm:pt modelId="{048F5D98-6DB5-41B3-A45C-1346B0B529A5}" type="pres">
      <dgm:prSet presAssocID="{CBDC0C72-102A-48F7-A7EB-881BE66A41D6}" presName="circ3Tx" presStyleLbl="revTx" presStyleIdx="0" presStyleCnt="0">
        <dgm:presLayoutVars>
          <dgm:chMax val="0"/>
          <dgm:chPref val="0"/>
          <dgm:bulletEnabled val="1"/>
        </dgm:presLayoutVars>
      </dgm:prSet>
      <dgm:spPr/>
    </dgm:pt>
  </dgm:ptLst>
  <dgm:cxnLst>
    <dgm:cxn modelId="{BD982416-27A1-481A-A1D4-C893F0748055}" type="presOf" srcId="{029ED803-24D9-45F7-AC1C-B35F52DC7A66}" destId="{A676D739-B28F-468A-BF97-15A41BCA3667}" srcOrd="1" destOrd="0" presId="urn:microsoft.com/office/officeart/2005/8/layout/venn1"/>
    <dgm:cxn modelId="{B5647E20-E338-4243-8EC2-D7300CCC21F4}" type="presOf" srcId="{3F03EE98-3532-40C4-8374-A757F0055A5A}" destId="{64E6725E-3095-44FE-B1E6-F7BEDEA7010C}" srcOrd="0" destOrd="0" presId="urn:microsoft.com/office/officeart/2005/8/layout/venn1"/>
    <dgm:cxn modelId="{2F61AF48-B40F-4110-9EFA-993B7EF5CC38}" type="presOf" srcId="{CBDC0C72-102A-48F7-A7EB-881BE66A41D6}" destId="{048F5D98-6DB5-41B3-A45C-1346B0B529A5}" srcOrd="1" destOrd="0" presId="urn:microsoft.com/office/officeart/2005/8/layout/venn1"/>
    <dgm:cxn modelId="{905EE16A-2E9D-4E49-A9F0-E9380868D440}" type="presOf" srcId="{DA5FF853-CDDB-4463-9228-16676C2136EE}" destId="{AE8157C3-120E-4AA8-8C81-AC047A5A7250}" srcOrd="0" destOrd="0" presId="urn:microsoft.com/office/officeart/2005/8/layout/venn1"/>
    <dgm:cxn modelId="{A5D81355-BAB5-44B6-995D-0B3401794342}" type="presOf" srcId="{DA5FF853-CDDB-4463-9228-16676C2136EE}" destId="{9F223D4F-8236-4FFF-8DBD-64E6182DC415}" srcOrd="1" destOrd="0" presId="urn:microsoft.com/office/officeart/2005/8/layout/venn1"/>
    <dgm:cxn modelId="{B3A6FF8B-07B4-4F87-A24B-7AC2027DC19A}" srcId="{3F03EE98-3532-40C4-8374-A757F0055A5A}" destId="{CBDC0C72-102A-48F7-A7EB-881BE66A41D6}" srcOrd="2" destOrd="0" parTransId="{0E838D76-5626-4D93-AC9B-D2A4B9B4CC61}" sibTransId="{1924F620-FF79-4A81-B1F9-39C095C33F28}"/>
    <dgm:cxn modelId="{B0F4DE95-6F3A-47DB-A53B-511C26CC50E8}" srcId="{3F03EE98-3532-40C4-8374-A757F0055A5A}" destId="{DA5FF853-CDDB-4463-9228-16676C2136EE}" srcOrd="1" destOrd="0" parTransId="{18195C2A-30DE-4091-9598-21A48C04C7A5}" sibTransId="{DF6F63F7-0CB1-43C2-9DB1-F52077D0B5EB}"/>
    <dgm:cxn modelId="{0144B098-A2C0-4777-9636-CFCFF82DD173}" srcId="{3F03EE98-3532-40C4-8374-A757F0055A5A}" destId="{029ED803-24D9-45F7-AC1C-B35F52DC7A66}" srcOrd="0" destOrd="0" parTransId="{1B4891F0-7A53-42E0-8C67-ED1F4799EA3D}" sibTransId="{89E06BD7-10B2-426E-9596-0278EB1FAE4D}"/>
    <dgm:cxn modelId="{A10F31D3-7763-4CBD-9114-49CD7D36E452}" type="presOf" srcId="{CBDC0C72-102A-48F7-A7EB-881BE66A41D6}" destId="{C2BB32EF-877D-40DC-B3BB-4316C7C5F9F3}" srcOrd="0" destOrd="0" presId="urn:microsoft.com/office/officeart/2005/8/layout/venn1"/>
    <dgm:cxn modelId="{2741F3D6-CB98-4491-855D-4BCF0B82D001}" type="presOf" srcId="{029ED803-24D9-45F7-AC1C-B35F52DC7A66}" destId="{550B9EC5-079E-48E4-80D1-225D219A1B7E}" srcOrd="0" destOrd="0" presId="urn:microsoft.com/office/officeart/2005/8/layout/venn1"/>
    <dgm:cxn modelId="{F0E0E6BD-D434-4406-B0FC-97DE1B765657}" type="presParOf" srcId="{64E6725E-3095-44FE-B1E6-F7BEDEA7010C}" destId="{550B9EC5-079E-48E4-80D1-225D219A1B7E}" srcOrd="0" destOrd="0" presId="urn:microsoft.com/office/officeart/2005/8/layout/venn1"/>
    <dgm:cxn modelId="{4C1B2404-3ACF-41DF-AE82-BCB110776411}" type="presParOf" srcId="{64E6725E-3095-44FE-B1E6-F7BEDEA7010C}" destId="{A676D739-B28F-468A-BF97-15A41BCA3667}" srcOrd="1" destOrd="0" presId="urn:microsoft.com/office/officeart/2005/8/layout/venn1"/>
    <dgm:cxn modelId="{2E597B82-5444-4F04-841E-3C58F0CB6310}" type="presParOf" srcId="{64E6725E-3095-44FE-B1E6-F7BEDEA7010C}" destId="{AE8157C3-120E-4AA8-8C81-AC047A5A7250}" srcOrd="2" destOrd="0" presId="urn:microsoft.com/office/officeart/2005/8/layout/venn1"/>
    <dgm:cxn modelId="{5294F65A-F8CC-4602-ACD9-B80A74F0EFD0}" type="presParOf" srcId="{64E6725E-3095-44FE-B1E6-F7BEDEA7010C}" destId="{9F223D4F-8236-4FFF-8DBD-64E6182DC415}" srcOrd="3" destOrd="0" presId="urn:microsoft.com/office/officeart/2005/8/layout/venn1"/>
    <dgm:cxn modelId="{4CBCD7E1-5795-4AE2-8C68-9DFC16B5659F}" type="presParOf" srcId="{64E6725E-3095-44FE-B1E6-F7BEDEA7010C}" destId="{C2BB32EF-877D-40DC-B3BB-4316C7C5F9F3}" srcOrd="4" destOrd="0" presId="urn:microsoft.com/office/officeart/2005/8/layout/venn1"/>
    <dgm:cxn modelId="{233143E4-ACFE-43DD-A045-FC30EB81CB84}" type="presParOf" srcId="{64E6725E-3095-44FE-B1E6-F7BEDEA7010C}" destId="{048F5D98-6DB5-41B3-A45C-1346B0B529A5}"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AB1FE85-D4D1-4E33-8F32-5BEDCA55019E}"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IN"/>
        </a:p>
      </dgm:t>
    </dgm:pt>
    <dgm:pt modelId="{5700DDA3-F405-4957-8254-BB88B7D488BE}">
      <dgm:prSet phldrT="[Text]"/>
      <dgm:spPr>
        <a:solidFill>
          <a:srgbClr val="A1F0FB"/>
        </a:solidFill>
      </dgm:spPr>
      <dgm:t>
        <a:bodyPr/>
        <a:lstStyle/>
        <a:p>
          <a:r>
            <a:rPr lang="en-IN" dirty="0"/>
            <a:t>Semantic Knowledge</a:t>
          </a:r>
        </a:p>
      </dgm:t>
    </dgm:pt>
    <dgm:pt modelId="{D557749B-F469-479E-B2AC-F7525C9CF95A}" type="parTrans" cxnId="{760FF2E3-1883-4A17-87E2-BD16FB587AAB}">
      <dgm:prSet/>
      <dgm:spPr/>
      <dgm:t>
        <a:bodyPr/>
        <a:lstStyle/>
        <a:p>
          <a:endParaRPr lang="en-IN"/>
        </a:p>
      </dgm:t>
    </dgm:pt>
    <dgm:pt modelId="{D457CE39-9FEB-4FD4-8CA5-38362DB41C51}" type="sibTrans" cxnId="{760FF2E3-1883-4A17-87E2-BD16FB587AAB}">
      <dgm:prSet/>
      <dgm:spPr/>
      <dgm:t>
        <a:bodyPr/>
        <a:lstStyle/>
        <a:p>
          <a:endParaRPr lang="en-IN"/>
        </a:p>
      </dgm:t>
    </dgm:pt>
    <dgm:pt modelId="{1C403E4A-6885-4B7F-B452-35BA0BC4F3B6}">
      <dgm:prSet phldrT="[Text]"/>
      <dgm:spPr>
        <a:solidFill>
          <a:schemeClr val="accent4">
            <a:lumMod val="40000"/>
            <a:lumOff val="60000"/>
          </a:schemeClr>
        </a:solidFill>
      </dgm:spPr>
      <dgm:t>
        <a:bodyPr/>
        <a:lstStyle/>
        <a:p>
          <a:r>
            <a:rPr lang="en-IN" dirty="0"/>
            <a:t>Ontology</a:t>
          </a:r>
        </a:p>
      </dgm:t>
    </dgm:pt>
    <dgm:pt modelId="{7296C44F-9729-4738-8BC8-706BD2C9EDE6}" type="parTrans" cxnId="{36EBEBEE-008A-41D4-9FF1-5743A9FB0DD2}">
      <dgm:prSet/>
      <dgm:spPr/>
      <dgm:t>
        <a:bodyPr/>
        <a:lstStyle/>
        <a:p>
          <a:endParaRPr lang="en-IN"/>
        </a:p>
      </dgm:t>
    </dgm:pt>
    <dgm:pt modelId="{26DAC0C8-9C31-4522-9B5E-F16094F332A9}" type="sibTrans" cxnId="{36EBEBEE-008A-41D4-9FF1-5743A9FB0DD2}">
      <dgm:prSet/>
      <dgm:spPr/>
      <dgm:t>
        <a:bodyPr/>
        <a:lstStyle/>
        <a:p>
          <a:endParaRPr lang="en-IN"/>
        </a:p>
      </dgm:t>
    </dgm:pt>
    <dgm:pt modelId="{74687FD5-D12A-4327-8F7A-B1B6C317E8CF}">
      <dgm:prSet phldrT="[Text]"/>
      <dgm:spPr>
        <a:solidFill>
          <a:schemeClr val="accent4">
            <a:lumMod val="20000"/>
            <a:lumOff val="80000"/>
          </a:schemeClr>
        </a:solidFill>
      </dgm:spPr>
      <dgm:t>
        <a:bodyPr/>
        <a:lstStyle/>
        <a:p>
          <a:r>
            <a:rPr lang="en-IN" dirty="0"/>
            <a:t>Definitions</a:t>
          </a:r>
        </a:p>
      </dgm:t>
    </dgm:pt>
    <dgm:pt modelId="{A7A0A2A0-D247-46BD-A642-4912F1B19261}" type="parTrans" cxnId="{FA4B5054-0F50-4F00-BEDB-3D7665463940}">
      <dgm:prSet/>
      <dgm:spPr/>
      <dgm:t>
        <a:bodyPr/>
        <a:lstStyle/>
        <a:p>
          <a:endParaRPr lang="en-IN"/>
        </a:p>
      </dgm:t>
    </dgm:pt>
    <dgm:pt modelId="{CAD58A7A-3BD1-4709-AC72-3D5E663D5AE4}" type="sibTrans" cxnId="{FA4B5054-0F50-4F00-BEDB-3D7665463940}">
      <dgm:prSet/>
      <dgm:spPr/>
      <dgm:t>
        <a:bodyPr/>
        <a:lstStyle/>
        <a:p>
          <a:endParaRPr lang="en-IN"/>
        </a:p>
      </dgm:t>
    </dgm:pt>
    <dgm:pt modelId="{88936925-A2E7-45E2-99D9-CC81C5396E0E}">
      <dgm:prSet phldrT="[Text]"/>
      <dgm:spPr>
        <a:solidFill>
          <a:srgbClr val="CCCC00"/>
        </a:solidFill>
      </dgm:spPr>
      <dgm:t>
        <a:bodyPr/>
        <a:lstStyle/>
        <a:p>
          <a:r>
            <a:rPr lang="en-IN" dirty="0"/>
            <a:t>Episodic Knowledge</a:t>
          </a:r>
        </a:p>
      </dgm:t>
    </dgm:pt>
    <dgm:pt modelId="{4470952F-B7D1-4BDB-85B3-7C400CC372FB}" type="parTrans" cxnId="{3BDBAE92-3827-4CDA-BD89-28E660F7BCE8}">
      <dgm:prSet/>
      <dgm:spPr/>
      <dgm:t>
        <a:bodyPr/>
        <a:lstStyle/>
        <a:p>
          <a:endParaRPr lang="en-IN"/>
        </a:p>
      </dgm:t>
    </dgm:pt>
    <dgm:pt modelId="{368034A1-77A8-46CB-939C-DC6EA8363D6E}" type="sibTrans" cxnId="{3BDBAE92-3827-4CDA-BD89-28E660F7BCE8}">
      <dgm:prSet/>
      <dgm:spPr/>
      <dgm:t>
        <a:bodyPr/>
        <a:lstStyle/>
        <a:p>
          <a:endParaRPr lang="en-IN"/>
        </a:p>
      </dgm:t>
    </dgm:pt>
    <dgm:pt modelId="{22CA6015-138E-4379-91C3-49BF6899817F}">
      <dgm:prSet phldrT="[Text]"/>
      <dgm:spPr>
        <a:solidFill>
          <a:srgbClr val="FCA0E2"/>
        </a:solidFill>
      </dgm:spPr>
      <dgm:t>
        <a:bodyPr/>
        <a:lstStyle/>
        <a:p>
          <a:r>
            <a:rPr lang="en-US" dirty="0">
              <a:solidFill>
                <a:schemeClr val="tx1"/>
              </a:solidFill>
            </a:rPr>
            <a:t>It contains remembered instances of ontological </a:t>
          </a:r>
        </a:p>
        <a:p>
          <a:r>
            <a:rPr lang="en-US" b="1" dirty="0">
              <a:solidFill>
                <a:schemeClr val="tx1"/>
              </a:solidFill>
            </a:rPr>
            <a:t>concepts </a:t>
          </a:r>
          <a:r>
            <a:rPr lang="en-US" dirty="0">
              <a:solidFill>
                <a:schemeClr val="tx1"/>
              </a:solidFill>
            </a:rPr>
            <a:t>(such as people, places, organizations, events, etc.),</a:t>
          </a:r>
          <a:endParaRPr lang="en-IN" dirty="0">
            <a:solidFill>
              <a:schemeClr val="tx1"/>
            </a:solidFill>
          </a:endParaRPr>
        </a:p>
      </dgm:t>
    </dgm:pt>
    <dgm:pt modelId="{8A277077-E6DA-4F1D-AB66-DB2D77DF3063}" type="parTrans" cxnId="{A1785CB9-706C-499B-8601-9F3F8EBB0DEB}">
      <dgm:prSet/>
      <dgm:spPr/>
      <dgm:t>
        <a:bodyPr/>
        <a:lstStyle/>
        <a:p>
          <a:endParaRPr lang="en-IN"/>
        </a:p>
      </dgm:t>
    </dgm:pt>
    <dgm:pt modelId="{BD34F832-D1FB-44B1-9A05-0DEB6985D926}" type="sibTrans" cxnId="{A1785CB9-706C-499B-8601-9F3F8EBB0DEB}">
      <dgm:prSet/>
      <dgm:spPr/>
      <dgm:t>
        <a:bodyPr/>
        <a:lstStyle/>
        <a:p>
          <a:endParaRPr lang="en-IN"/>
        </a:p>
      </dgm:t>
    </dgm:pt>
    <dgm:pt modelId="{25D236DA-FE63-497F-9D5D-65744F1A2738}">
      <dgm:prSet phldrT="[Text]"/>
      <dgm:spPr>
        <a:solidFill>
          <a:srgbClr val="F0FE9E"/>
        </a:solidFill>
      </dgm:spPr>
      <dgm:t>
        <a:bodyPr/>
        <a:lstStyle/>
        <a:p>
          <a:r>
            <a:rPr lang="en-IN" dirty="0">
              <a:solidFill>
                <a:schemeClr val="tx1"/>
              </a:solidFill>
            </a:rPr>
            <a:t>It resolves around instances or events</a:t>
          </a:r>
        </a:p>
        <a:p>
          <a:r>
            <a:rPr lang="en-IN" dirty="0">
              <a:solidFill>
                <a:schemeClr val="tx1"/>
              </a:solidFill>
            </a:rPr>
            <a:t>Examples: Discrete or Continuous Events</a:t>
          </a:r>
        </a:p>
        <a:p>
          <a:r>
            <a:rPr lang="en-IN" dirty="0">
              <a:solidFill>
                <a:schemeClr val="tx1"/>
              </a:solidFill>
            </a:rPr>
            <a:t>Linear or Branching Events</a:t>
          </a:r>
        </a:p>
        <a:p>
          <a:r>
            <a:rPr lang="en-IN" dirty="0">
              <a:solidFill>
                <a:schemeClr val="tx1"/>
              </a:solidFill>
            </a:rPr>
            <a:t>Immediate or delayed Events</a:t>
          </a:r>
        </a:p>
      </dgm:t>
    </dgm:pt>
    <dgm:pt modelId="{4016948F-DD65-473B-93F8-42BEA7B6467E}" type="parTrans" cxnId="{CA8F3C66-BA6C-40B7-9DDA-FA42B018D827}">
      <dgm:prSet/>
      <dgm:spPr/>
      <dgm:t>
        <a:bodyPr/>
        <a:lstStyle/>
        <a:p>
          <a:endParaRPr lang="en-IN"/>
        </a:p>
      </dgm:t>
    </dgm:pt>
    <dgm:pt modelId="{C706366C-D820-4133-AF1F-2C77689980A0}" type="sibTrans" cxnId="{CA8F3C66-BA6C-40B7-9DDA-FA42B018D827}">
      <dgm:prSet/>
      <dgm:spPr/>
      <dgm:t>
        <a:bodyPr/>
        <a:lstStyle/>
        <a:p>
          <a:endParaRPr lang="en-IN"/>
        </a:p>
      </dgm:t>
    </dgm:pt>
    <dgm:pt modelId="{2128055E-0F23-487A-85C9-8A35503A4A02}">
      <dgm:prSet phldrT="[Text]"/>
      <dgm:spPr>
        <a:solidFill>
          <a:schemeClr val="accent4">
            <a:lumMod val="60000"/>
            <a:lumOff val="40000"/>
          </a:schemeClr>
        </a:solidFill>
      </dgm:spPr>
      <dgm:t>
        <a:bodyPr/>
        <a:lstStyle/>
        <a:p>
          <a:r>
            <a:rPr lang="en-IN" dirty="0"/>
            <a:t>Constraints</a:t>
          </a:r>
        </a:p>
      </dgm:t>
    </dgm:pt>
    <dgm:pt modelId="{5CFF1190-232A-4503-A6BB-A06809FBEEBF}" type="parTrans" cxnId="{0DC2B9CD-69DE-4401-9B61-22D1944386C2}">
      <dgm:prSet/>
      <dgm:spPr/>
      <dgm:t>
        <a:bodyPr/>
        <a:lstStyle/>
        <a:p>
          <a:endParaRPr lang="en-IN"/>
        </a:p>
      </dgm:t>
    </dgm:pt>
    <dgm:pt modelId="{F7BBAAB1-03F4-4D03-AEA1-FA2B8041575C}" type="sibTrans" cxnId="{0DC2B9CD-69DE-4401-9B61-22D1944386C2}">
      <dgm:prSet/>
      <dgm:spPr/>
      <dgm:t>
        <a:bodyPr/>
        <a:lstStyle/>
        <a:p>
          <a:endParaRPr lang="en-IN"/>
        </a:p>
      </dgm:t>
    </dgm:pt>
    <dgm:pt modelId="{B8C32C9C-222B-4D9D-8A78-DAAE55F0B266}">
      <dgm:prSet phldrT="[Text]"/>
      <dgm:spPr>
        <a:solidFill>
          <a:schemeClr val="accent4">
            <a:lumMod val="75000"/>
          </a:schemeClr>
        </a:solidFill>
      </dgm:spPr>
      <dgm:t>
        <a:bodyPr/>
        <a:lstStyle/>
        <a:p>
          <a:r>
            <a:rPr lang="en-IN" dirty="0"/>
            <a:t>Defaults</a:t>
          </a:r>
        </a:p>
      </dgm:t>
    </dgm:pt>
    <dgm:pt modelId="{9667954E-FD82-43BE-B62F-9AC6FE44D95B}" type="parTrans" cxnId="{8135ED98-8C41-4634-943C-C162A1A5CFC0}">
      <dgm:prSet/>
      <dgm:spPr/>
      <dgm:t>
        <a:bodyPr/>
        <a:lstStyle/>
        <a:p>
          <a:endParaRPr lang="en-IN"/>
        </a:p>
      </dgm:t>
    </dgm:pt>
    <dgm:pt modelId="{0012477C-B797-4A78-910D-EEC0FFD35065}" type="sibTrans" cxnId="{8135ED98-8C41-4634-943C-C162A1A5CFC0}">
      <dgm:prSet/>
      <dgm:spPr/>
      <dgm:t>
        <a:bodyPr/>
        <a:lstStyle/>
        <a:p>
          <a:endParaRPr lang="en-IN"/>
        </a:p>
      </dgm:t>
    </dgm:pt>
    <dgm:pt modelId="{37E0CA6D-5C6D-4960-9E24-7F7F52225FC8}">
      <dgm:prSet phldrT="[Text]"/>
      <dgm:spPr>
        <a:solidFill>
          <a:schemeClr val="accent4">
            <a:lumMod val="50000"/>
          </a:schemeClr>
        </a:solidFill>
      </dgm:spPr>
      <dgm:t>
        <a:bodyPr/>
        <a:lstStyle/>
        <a:p>
          <a:r>
            <a:rPr lang="en-IN" dirty="0"/>
            <a:t>Behaviours</a:t>
          </a:r>
        </a:p>
      </dgm:t>
    </dgm:pt>
    <dgm:pt modelId="{671B02B1-5877-49C9-8626-19744B9E2940}" type="parTrans" cxnId="{AACAC052-32DB-47CE-B9BE-2599E0935FF9}">
      <dgm:prSet/>
      <dgm:spPr/>
      <dgm:t>
        <a:bodyPr/>
        <a:lstStyle/>
        <a:p>
          <a:endParaRPr lang="en-IN"/>
        </a:p>
      </dgm:t>
    </dgm:pt>
    <dgm:pt modelId="{97E8806C-6B00-4A6C-8E1C-8B8DBBAD070C}" type="sibTrans" cxnId="{AACAC052-32DB-47CE-B9BE-2599E0935FF9}">
      <dgm:prSet/>
      <dgm:spPr/>
      <dgm:t>
        <a:bodyPr/>
        <a:lstStyle/>
        <a:p>
          <a:endParaRPr lang="en-IN"/>
        </a:p>
      </dgm:t>
    </dgm:pt>
    <dgm:pt modelId="{A30F4AF6-3183-4E1D-A8F7-974E37D27D1F}" type="pres">
      <dgm:prSet presAssocID="{8AB1FE85-D4D1-4E33-8F32-5BEDCA55019E}" presName="theList" presStyleCnt="0">
        <dgm:presLayoutVars>
          <dgm:dir/>
          <dgm:animLvl val="lvl"/>
          <dgm:resizeHandles val="exact"/>
        </dgm:presLayoutVars>
      </dgm:prSet>
      <dgm:spPr/>
    </dgm:pt>
    <dgm:pt modelId="{9F8C512E-0FB9-4B2E-AB2E-413E447F12DD}" type="pres">
      <dgm:prSet presAssocID="{5700DDA3-F405-4957-8254-BB88B7D488BE}" presName="compNode" presStyleCnt="0"/>
      <dgm:spPr/>
    </dgm:pt>
    <dgm:pt modelId="{95C1DAF7-A3D4-4A12-8F3D-C768BF6E8AE0}" type="pres">
      <dgm:prSet presAssocID="{5700DDA3-F405-4957-8254-BB88B7D488BE}" presName="aNode" presStyleLbl="bgShp" presStyleIdx="0" presStyleCnt="2"/>
      <dgm:spPr/>
    </dgm:pt>
    <dgm:pt modelId="{827E13BB-EFA7-4D29-B13C-A848472B1AB3}" type="pres">
      <dgm:prSet presAssocID="{5700DDA3-F405-4957-8254-BB88B7D488BE}" presName="textNode" presStyleLbl="bgShp" presStyleIdx="0" presStyleCnt="2"/>
      <dgm:spPr/>
    </dgm:pt>
    <dgm:pt modelId="{94E432B0-387A-4069-B959-F2A294BEAB87}" type="pres">
      <dgm:prSet presAssocID="{5700DDA3-F405-4957-8254-BB88B7D488BE}" presName="compChildNode" presStyleCnt="0"/>
      <dgm:spPr/>
    </dgm:pt>
    <dgm:pt modelId="{6BA602EA-0543-4E1F-A874-5E9F38A56707}" type="pres">
      <dgm:prSet presAssocID="{5700DDA3-F405-4957-8254-BB88B7D488BE}" presName="theInnerList" presStyleCnt="0"/>
      <dgm:spPr/>
    </dgm:pt>
    <dgm:pt modelId="{AD85D193-C9AB-4461-A57A-88A5166FDDFD}" type="pres">
      <dgm:prSet presAssocID="{1C403E4A-6885-4B7F-B452-35BA0BC4F3B6}" presName="childNode" presStyleLbl="node1" presStyleIdx="0" presStyleCnt="7">
        <dgm:presLayoutVars>
          <dgm:bulletEnabled val="1"/>
        </dgm:presLayoutVars>
      </dgm:prSet>
      <dgm:spPr/>
    </dgm:pt>
    <dgm:pt modelId="{536C4E96-0503-4836-AF83-DC3613267CE3}" type="pres">
      <dgm:prSet presAssocID="{1C403E4A-6885-4B7F-B452-35BA0BC4F3B6}" presName="aSpace2" presStyleCnt="0"/>
      <dgm:spPr/>
    </dgm:pt>
    <dgm:pt modelId="{1B674A04-E1BE-41E0-9FF1-3FC9DA8B2310}" type="pres">
      <dgm:prSet presAssocID="{74687FD5-D12A-4327-8F7A-B1B6C317E8CF}" presName="childNode" presStyleLbl="node1" presStyleIdx="1" presStyleCnt="7">
        <dgm:presLayoutVars>
          <dgm:bulletEnabled val="1"/>
        </dgm:presLayoutVars>
      </dgm:prSet>
      <dgm:spPr/>
    </dgm:pt>
    <dgm:pt modelId="{307211B5-4EAA-43BC-A660-E4701CDA86C4}" type="pres">
      <dgm:prSet presAssocID="{74687FD5-D12A-4327-8F7A-B1B6C317E8CF}" presName="aSpace2" presStyleCnt="0"/>
      <dgm:spPr/>
    </dgm:pt>
    <dgm:pt modelId="{D12C573D-9BA5-45C1-8A0A-1C52E1917FCA}" type="pres">
      <dgm:prSet presAssocID="{2128055E-0F23-487A-85C9-8A35503A4A02}" presName="childNode" presStyleLbl="node1" presStyleIdx="2" presStyleCnt="7">
        <dgm:presLayoutVars>
          <dgm:bulletEnabled val="1"/>
        </dgm:presLayoutVars>
      </dgm:prSet>
      <dgm:spPr/>
    </dgm:pt>
    <dgm:pt modelId="{B23DE635-E770-4408-ACB2-A3EADBD26E67}" type="pres">
      <dgm:prSet presAssocID="{2128055E-0F23-487A-85C9-8A35503A4A02}" presName="aSpace2" presStyleCnt="0"/>
      <dgm:spPr/>
    </dgm:pt>
    <dgm:pt modelId="{C0BB2EA8-3E24-4141-9505-A2BD9309EDB8}" type="pres">
      <dgm:prSet presAssocID="{B8C32C9C-222B-4D9D-8A78-DAAE55F0B266}" presName="childNode" presStyleLbl="node1" presStyleIdx="3" presStyleCnt="7">
        <dgm:presLayoutVars>
          <dgm:bulletEnabled val="1"/>
        </dgm:presLayoutVars>
      </dgm:prSet>
      <dgm:spPr/>
    </dgm:pt>
    <dgm:pt modelId="{7DB2FFF2-81EA-49B8-BC09-D725C565C274}" type="pres">
      <dgm:prSet presAssocID="{B8C32C9C-222B-4D9D-8A78-DAAE55F0B266}" presName="aSpace2" presStyleCnt="0"/>
      <dgm:spPr/>
    </dgm:pt>
    <dgm:pt modelId="{66C508C3-AE13-47FD-A3CE-88F04BC3AD5F}" type="pres">
      <dgm:prSet presAssocID="{37E0CA6D-5C6D-4960-9E24-7F7F52225FC8}" presName="childNode" presStyleLbl="node1" presStyleIdx="4" presStyleCnt="7">
        <dgm:presLayoutVars>
          <dgm:bulletEnabled val="1"/>
        </dgm:presLayoutVars>
      </dgm:prSet>
      <dgm:spPr/>
    </dgm:pt>
    <dgm:pt modelId="{F2BAF9D4-DBF2-46BF-96A9-27B8C38C8AF9}" type="pres">
      <dgm:prSet presAssocID="{5700DDA3-F405-4957-8254-BB88B7D488BE}" presName="aSpace" presStyleCnt="0"/>
      <dgm:spPr/>
    </dgm:pt>
    <dgm:pt modelId="{CC02BE48-3B48-467F-AD47-44B233AC86FE}" type="pres">
      <dgm:prSet presAssocID="{88936925-A2E7-45E2-99D9-CC81C5396E0E}" presName="compNode" presStyleCnt="0"/>
      <dgm:spPr/>
    </dgm:pt>
    <dgm:pt modelId="{28089396-F38C-4348-8DF3-0F6A7DEFAB48}" type="pres">
      <dgm:prSet presAssocID="{88936925-A2E7-45E2-99D9-CC81C5396E0E}" presName="aNode" presStyleLbl="bgShp" presStyleIdx="1" presStyleCnt="2"/>
      <dgm:spPr/>
    </dgm:pt>
    <dgm:pt modelId="{2AAF90C5-5E03-439F-BE61-7E08F39D5650}" type="pres">
      <dgm:prSet presAssocID="{88936925-A2E7-45E2-99D9-CC81C5396E0E}" presName="textNode" presStyleLbl="bgShp" presStyleIdx="1" presStyleCnt="2"/>
      <dgm:spPr/>
    </dgm:pt>
    <dgm:pt modelId="{7DFB9333-B258-4FF3-9791-58E9A0981317}" type="pres">
      <dgm:prSet presAssocID="{88936925-A2E7-45E2-99D9-CC81C5396E0E}" presName="compChildNode" presStyleCnt="0"/>
      <dgm:spPr/>
    </dgm:pt>
    <dgm:pt modelId="{AAAB7B57-2C96-4994-93B3-858A2992C747}" type="pres">
      <dgm:prSet presAssocID="{88936925-A2E7-45E2-99D9-CC81C5396E0E}" presName="theInnerList" presStyleCnt="0"/>
      <dgm:spPr/>
    </dgm:pt>
    <dgm:pt modelId="{20330BFC-04B4-4EBA-92A0-FD6433537C88}" type="pres">
      <dgm:prSet presAssocID="{22CA6015-138E-4379-91C3-49BF6899817F}" presName="childNode" presStyleLbl="node1" presStyleIdx="5" presStyleCnt="7">
        <dgm:presLayoutVars>
          <dgm:bulletEnabled val="1"/>
        </dgm:presLayoutVars>
      </dgm:prSet>
      <dgm:spPr/>
    </dgm:pt>
    <dgm:pt modelId="{07DAC873-AB2A-4F8E-A75C-39E802DCEE39}" type="pres">
      <dgm:prSet presAssocID="{22CA6015-138E-4379-91C3-49BF6899817F}" presName="aSpace2" presStyleCnt="0"/>
      <dgm:spPr/>
    </dgm:pt>
    <dgm:pt modelId="{285B4D9F-5AE9-48EE-972F-F298B35C6A8F}" type="pres">
      <dgm:prSet presAssocID="{25D236DA-FE63-497F-9D5D-65744F1A2738}" presName="childNode" presStyleLbl="node1" presStyleIdx="6" presStyleCnt="7">
        <dgm:presLayoutVars>
          <dgm:bulletEnabled val="1"/>
        </dgm:presLayoutVars>
      </dgm:prSet>
      <dgm:spPr/>
    </dgm:pt>
  </dgm:ptLst>
  <dgm:cxnLst>
    <dgm:cxn modelId="{E7E9340B-47DE-4DD2-8613-12C17FBF52EC}" type="presOf" srcId="{5700DDA3-F405-4957-8254-BB88B7D488BE}" destId="{95C1DAF7-A3D4-4A12-8F3D-C768BF6E8AE0}" srcOrd="0" destOrd="0" presId="urn:microsoft.com/office/officeart/2005/8/layout/lProcess2"/>
    <dgm:cxn modelId="{C16B3925-7F80-4022-94A3-C2A63DACCD72}" type="presOf" srcId="{88936925-A2E7-45E2-99D9-CC81C5396E0E}" destId="{28089396-F38C-4348-8DF3-0F6A7DEFAB48}" srcOrd="0" destOrd="0" presId="urn:microsoft.com/office/officeart/2005/8/layout/lProcess2"/>
    <dgm:cxn modelId="{7017BB62-6329-410A-8F96-8F2E0D32C01B}" type="presOf" srcId="{74687FD5-D12A-4327-8F7A-B1B6C317E8CF}" destId="{1B674A04-E1BE-41E0-9FF1-3FC9DA8B2310}" srcOrd="0" destOrd="0" presId="urn:microsoft.com/office/officeart/2005/8/layout/lProcess2"/>
    <dgm:cxn modelId="{CA8F3C66-BA6C-40B7-9DDA-FA42B018D827}" srcId="{88936925-A2E7-45E2-99D9-CC81C5396E0E}" destId="{25D236DA-FE63-497F-9D5D-65744F1A2738}" srcOrd="1" destOrd="0" parTransId="{4016948F-DD65-473B-93F8-42BEA7B6467E}" sibTransId="{C706366C-D820-4133-AF1F-2C77689980A0}"/>
    <dgm:cxn modelId="{E1394C66-81CF-48EB-B31A-E1F5B0FB3BF6}" type="presOf" srcId="{2128055E-0F23-487A-85C9-8A35503A4A02}" destId="{D12C573D-9BA5-45C1-8A0A-1C52E1917FCA}" srcOrd="0" destOrd="0" presId="urn:microsoft.com/office/officeart/2005/8/layout/lProcess2"/>
    <dgm:cxn modelId="{AACAC052-32DB-47CE-B9BE-2599E0935FF9}" srcId="{5700DDA3-F405-4957-8254-BB88B7D488BE}" destId="{37E0CA6D-5C6D-4960-9E24-7F7F52225FC8}" srcOrd="4" destOrd="0" parTransId="{671B02B1-5877-49C9-8626-19744B9E2940}" sibTransId="{97E8806C-6B00-4A6C-8E1C-8B8DBBAD070C}"/>
    <dgm:cxn modelId="{FA4B5054-0F50-4F00-BEDB-3D7665463940}" srcId="{5700DDA3-F405-4957-8254-BB88B7D488BE}" destId="{74687FD5-D12A-4327-8F7A-B1B6C317E8CF}" srcOrd="1" destOrd="0" parTransId="{A7A0A2A0-D247-46BD-A642-4912F1B19261}" sibTransId="{CAD58A7A-3BD1-4709-AC72-3D5E663D5AE4}"/>
    <dgm:cxn modelId="{9C987487-10B6-4B7B-B628-B54430DDF644}" type="presOf" srcId="{22CA6015-138E-4379-91C3-49BF6899817F}" destId="{20330BFC-04B4-4EBA-92A0-FD6433537C88}" srcOrd="0" destOrd="0" presId="urn:microsoft.com/office/officeart/2005/8/layout/lProcess2"/>
    <dgm:cxn modelId="{F5690790-CC11-4EC2-B72D-3643635F9C53}" type="presOf" srcId="{5700DDA3-F405-4957-8254-BB88B7D488BE}" destId="{827E13BB-EFA7-4D29-B13C-A848472B1AB3}" srcOrd="1" destOrd="0" presId="urn:microsoft.com/office/officeart/2005/8/layout/lProcess2"/>
    <dgm:cxn modelId="{3BDBAE92-3827-4CDA-BD89-28E660F7BCE8}" srcId="{8AB1FE85-D4D1-4E33-8F32-5BEDCA55019E}" destId="{88936925-A2E7-45E2-99D9-CC81C5396E0E}" srcOrd="1" destOrd="0" parTransId="{4470952F-B7D1-4BDB-85B3-7C400CC372FB}" sibTransId="{368034A1-77A8-46CB-939C-DC6EA8363D6E}"/>
    <dgm:cxn modelId="{CC92F596-A7BF-4A92-8889-37CB57DAF752}" type="presOf" srcId="{8AB1FE85-D4D1-4E33-8F32-5BEDCA55019E}" destId="{A30F4AF6-3183-4E1D-A8F7-974E37D27D1F}" srcOrd="0" destOrd="0" presId="urn:microsoft.com/office/officeart/2005/8/layout/lProcess2"/>
    <dgm:cxn modelId="{8135ED98-8C41-4634-943C-C162A1A5CFC0}" srcId="{5700DDA3-F405-4957-8254-BB88B7D488BE}" destId="{B8C32C9C-222B-4D9D-8A78-DAAE55F0B266}" srcOrd="3" destOrd="0" parTransId="{9667954E-FD82-43BE-B62F-9AC6FE44D95B}" sibTransId="{0012477C-B797-4A78-910D-EEC0FFD35065}"/>
    <dgm:cxn modelId="{A0BC5EAD-D0F7-40E8-B476-7C4CDEE929D8}" type="presOf" srcId="{37E0CA6D-5C6D-4960-9E24-7F7F52225FC8}" destId="{66C508C3-AE13-47FD-A3CE-88F04BC3AD5F}" srcOrd="0" destOrd="0" presId="urn:microsoft.com/office/officeart/2005/8/layout/lProcess2"/>
    <dgm:cxn modelId="{A1785CB9-706C-499B-8601-9F3F8EBB0DEB}" srcId="{88936925-A2E7-45E2-99D9-CC81C5396E0E}" destId="{22CA6015-138E-4379-91C3-49BF6899817F}" srcOrd="0" destOrd="0" parTransId="{8A277077-E6DA-4F1D-AB66-DB2D77DF3063}" sibTransId="{BD34F832-D1FB-44B1-9A05-0DEB6985D926}"/>
    <dgm:cxn modelId="{CC44F1C4-4C61-46F5-AC94-DCD0DD644E06}" type="presOf" srcId="{88936925-A2E7-45E2-99D9-CC81C5396E0E}" destId="{2AAF90C5-5E03-439F-BE61-7E08F39D5650}" srcOrd="1" destOrd="0" presId="urn:microsoft.com/office/officeart/2005/8/layout/lProcess2"/>
    <dgm:cxn modelId="{0DC2B9CD-69DE-4401-9B61-22D1944386C2}" srcId="{5700DDA3-F405-4957-8254-BB88B7D488BE}" destId="{2128055E-0F23-487A-85C9-8A35503A4A02}" srcOrd="2" destOrd="0" parTransId="{5CFF1190-232A-4503-A6BB-A06809FBEEBF}" sibTransId="{F7BBAAB1-03F4-4D03-AEA1-FA2B8041575C}"/>
    <dgm:cxn modelId="{E74647E3-2052-4BA3-9D3B-5DD85DDEB4A7}" type="presOf" srcId="{B8C32C9C-222B-4D9D-8A78-DAAE55F0B266}" destId="{C0BB2EA8-3E24-4141-9505-A2BD9309EDB8}" srcOrd="0" destOrd="0" presId="urn:microsoft.com/office/officeart/2005/8/layout/lProcess2"/>
    <dgm:cxn modelId="{760FF2E3-1883-4A17-87E2-BD16FB587AAB}" srcId="{8AB1FE85-D4D1-4E33-8F32-5BEDCA55019E}" destId="{5700DDA3-F405-4957-8254-BB88B7D488BE}" srcOrd="0" destOrd="0" parTransId="{D557749B-F469-479E-B2AC-F7525C9CF95A}" sibTransId="{D457CE39-9FEB-4FD4-8CA5-38362DB41C51}"/>
    <dgm:cxn modelId="{36EBEBEE-008A-41D4-9FF1-5743A9FB0DD2}" srcId="{5700DDA3-F405-4957-8254-BB88B7D488BE}" destId="{1C403E4A-6885-4B7F-B452-35BA0BC4F3B6}" srcOrd="0" destOrd="0" parTransId="{7296C44F-9729-4738-8BC8-706BD2C9EDE6}" sibTransId="{26DAC0C8-9C31-4522-9B5E-F16094F332A9}"/>
    <dgm:cxn modelId="{426AA4F4-638B-41D7-821A-4FEDFD9FBEEB}" type="presOf" srcId="{25D236DA-FE63-497F-9D5D-65744F1A2738}" destId="{285B4D9F-5AE9-48EE-972F-F298B35C6A8F}" srcOrd="0" destOrd="0" presId="urn:microsoft.com/office/officeart/2005/8/layout/lProcess2"/>
    <dgm:cxn modelId="{72D5B0F5-9309-46F0-83DD-1EF804E22CEA}" type="presOf" srcId="{1C403E4A-6885-4B7F-B452-35BA0BC4F3B6}" destId="{AD85D193-C9AB-4461-A57A-88A5166FDDFD}" srcOrd="0" destOrd="0" presId="urn:microsoft.com/office/officeart/2005/8/layout/lProcess2"/>
    <dgm:cxn modelId="{788CEF34-B227-46DA-9FC1-B552BF309F4C}" type="presParOf" srcId="{A30F4AF6-3183-4E1D-A8F7-974E37D27D1F}" destId="{9F8C512E-0FB9-4B2E-AB2E-413E447F12DD}" srcOrd="0" destOrd="0" presId="urn:microsoft.com/office/officeart/2005/8/layout/lProcess2"/>
    <dgm:cxn modelId="{C9F1D6EB-A420-45C3-971E-679CD9896BF4}" type="presParOf" srcId="{9F8C512E-0FB9-4B2E-AB2E-413E447F12DD}" destId="{95C1DAF7-A3D4-4A12-8F3D-C768BF6E8AE0}" srcOrd="0" destOrd="0" presId="urn:microsoft.com/office/officeart/2005/8/layout/lProcess2"/>
    <dgm:cxn modelId="{D89F4904-F8BF-4C7D-918D-4B536F716909}" type="presParOf" srcId="{9F8C512E-0FB9-4B2E-AB2E-413E447F12DD}" destId="{827E13BB-EFA7-4D29-B13C-A848472B1AB3}" srcOrd="1" destOrd="0" presId="urn:microsoft.com/office/officeart/2005/8/layout/lProcess2"/>
    <dgm:cxn modelId="{15DA42E4-159C-4F59-9668-CC343C58042F}" type="presParOf" srcId="{9F8C512E-0FB9-4B2E-AB2E-413E447F12DD}" destId="{94E432B0-387A-4069-B959-F2A294BEAB87}" srcOrd="2" destOrd="0" presId="urn:microsoft.com/office/officeart/2005/8/layout/lProcess2"/>
    <dgm:cxn modelId="{5DB7B6B5-7AF1-4B5E-BE4B-0DEC7B8048B0}" type="presParOf" srcId="{94E432B0-387A-4069-B959-F2A294BEAB87}" destId="{6BA602EA-0543-4E1F-A874-5E9F38A56707}" srcOrd="0" destOrd="0" presId="urn:microsoft.com/office/officeart/2005/8/layout/lProcess2"/>
    <dgm:cxn modelId="{D32D8AE3-C5A4-4DAF-9CD0-51103A6B196A}" type="presParOf" srcId="{6BA602EA-0543-4E1F-A874-5E9F38A56707}" destId="{AD85D193-C9AB-4461-A57A-88A5166FDDFD}" srcOrd="0" destOrd="0" presId="urn:microsoft.com/office/officeart/2005/8/layout/lProcess2"/>
    <dgm:cxn modelId="{D5EB70FF-CC5E-4532-8BFD-042CD7E1D039}" type="presParOf" srcId="{6BA602EA-0543-4E1F-A874-5E9F38A56707}" destId="{536C4E96-0503-4836-AF83-DC3613267CE3}" srcOrd="1" destOrd="0" presId="urn:microsoft.com/office/officeart/2005/8/layout/lProcess2"/>
    <dgm:cxn modelId="{3A093164-3C87-431D-AACD-78801A389234}" type="presParOf" srcId="{6BA602EA-0543-4E1F-A874-5E9F38A56707}" destId="{1B674A04-E1BE-41E0-9FF1-3FC9DA8B2310}" srcOrd="2" destOrd="0" presId="urn:microsoft.com/office/officeart/2005/8/layout/lProcess2"/>
    <dgm:cxn modelId="{B28305D9-4B6B-49BC-B46A-B23C1DC99DBC}" type="presParOf" srcId="{6BA602EA-0543-4E1F-A874-5E9F38A56707}" destId="{307211B5-4EAA-43BC-A660-E4701CDA86C4}" srcOrd="3" destOrd="0" presId="urn:microsoft.com/office/officeart/2005/8/layout/lProcess2"/>
    <dgm:cxn modelId="{EB39B1FF-896B-427A-B86B-2BCF9FA3CC5F}" type="presParOf" srcId="{6BA602EA-0543-4E1F-A874-5E9F38A56707}" destId="{D12C573D-9BA5-45C1-8A0A-1C52E1917FCA}" srcOrd="4" destOrd="0" presId="urn:microsoft.com/office/officeart/2005/8/layout/lProcess2"/>
    <dgm:cxn modelId="{BAE16B1A-EF6C-4240-B54A-A8E609A7BF04}" type="presParOf" srcId="{6BA602EA-0543-4E1F-A874-5E9F38A56707}" destId="{B23DE635-E770-4408-ACB2-A3EADBD26E67}" srcOrd="5" destOrd="0" presId="urn:microsoft.com/office/officeart/2005/8/layout/lProcess2"/>
    <dgm:cxn modelId="{082CCCE5-D730-4CA3-85F7-ECA82255FCAA}" type="presParOf" srcId="{6BA602EA-0543-4E1F-A874-5E9F38A56707}" destId="{C0BB2EA8-3E24-4141-9505-A2BD9309EDB8}" srcOrd="6" destOrd="0" presId="urn:microsoft.com/office/officeart/2005/8/layout/lProcess2"/>
    <dgm:cxn modelId="{F6471D49-930B-4644-B99F-15ED3F945570}" type="presParOf" srcId="{6BA602EA-0543-4E1F-A874-5E9F38A56707}" destId="{7DB2FFF2-81EA-49B8-BC09-D725C565C274}" srcOrd="7" destOrd="0" presId="urn:microsoft.com/office/officeart/2005/8/layout/lProcess2"/>
    <dgm:cxn modelId="{0BC672FB-811B-45C5-BF78-893C7F2AFFFC}" type="presParOf" srcId="{6BA602EA-0543-4E1F-A874-5E9F38A56707}" destId="{66C508C3-AE13-47FD-A3CE-88F04BC3AD5F}" srcOrd="8" destOrd="0" presId="urn:microsoft.com/office/officeart/2005/8/layout/lProcess2"/>
    <dgm:cxn modelId="{1B5D52A9-1628-468F-A7A4-9AFDB8A5517E}" type="presParOf" srcId="{A30F4AF6-3183-4E1D-A8F7-974E37D27D1F}" destId="{F2BAF9D4-DBF2-46BF-96A9-27B8C38C8AF9}" srcOrd="1" destOrd="0" presId="urn:microsoft.com/office/officeart/2005/8/layout/lProcess2"/>
    <dgm:cxn modelId="{CE5E9BBA-272F-46D9-8AD2-B980FAB55CA2}" type="presParOf" srcId="{A30F4AF6-3183-4E1D-A8F7-974E37D27D1F}" destId="{CC02BE48-3B48-467F-AD47-44B233AC86FE}" srcOrd="2" destOrd="0" presId="urn:microsoft.com/office/officeart/2005/8/layout/lProcess2"/>
    <dgm:cxn modelId="{5844EA5B-6754-488F-BC54-9333D6B91CFB}" type="presParOf" srcId="{CC02BE48-3B48-467F-AD47-44B233AC86FE}" destId="{28089396-F38C-4348-8DF3-0F6A7DEFAB48}" srcOrd="0" destOrd="0" presId="urn:microsoft.com/office/officeart/2005/8/layout/lProcess2"/>
    <dgm:cxn modelId="{D0FA731B-197D-48A6-9656-AFD62E7E8602}" type="presParOf" srcId="{CC02BE48-3B48-467F-AD47-44B233AC86FE}" destId="{2AAF90C5-5E03-439F-BE61-7E08F39D5650}" srcOrd="1" destOrd="0" presId="urn:microsoft.com/office/officeart/2005/8/layout/lProcess2"/>
    <dgm:cxn modelId="{CFE1CB3A-0F02-4702-A373-74E921EA4B3A}" type="presParOf" srcId="{CC02BE48-3B48-467F-AD47-44B233AC86FE}" destId="{7DFB9333-B258-4FF3-9791-58E9A0981317}" srcOrd="2" destOrd="0" presId="urn:microsoft.com/office/officeart/2005/8/layout/lProcess2"/>
    <dgm:cxn modelId="{51F8000D-3599-4D83-97A6-7FE9F163E8E4}" type="presParOf" srcId="{7DFB9333-B258-4FF3-9791-58E9A0981317}" destId="{AAAB7B57-2C96-4994-93B3-858A2992C747}" srcOrd="0" destOrd="0" presId="urn:microsoft.com/office/officeart/2005/8/layout/lProcess2"/>
    <dgm:cxn modelId="{A7564C74-7888-4DDF-852B-C8E1240241F0}" type="presParOf" srcId="{AAAB7B57-2C96-4994-93B3-858A2992C747}" destId="{20330BFC-04B4-4EBA-92A0-FD6433537C88}" srcOrd="0" destOrd="0" presId="urn:microsoft.com/office/officeart/2005/8/layout/lProcess2"/>
    <dgm:cxn modelId="{62785E74-4E67-425F-A07F-AF7BB5019168}" type="presParOf" srcId="{AAAB7B57-2C96-4994-93B3-858A2992C747}" destId="{07DAC873-AB2A-4F8E-A75C-39E802DCEE39}" srcOrd="1" destOrd="0" presId="urn:microsoft.com/office/officeart/2005/8/layout/lProcess2"/>
    <dgm:cxn modelId="{948802A4-74F0-4EA5-909A-C72E3D820C0F}" type="presParOf" srcId="{AAAB7B57-2C96-4994-93B3-858A2992C747}" destId="{285B4D9F-5AE9-48EE-972F-F298B35C6A8F}"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177A7B2-2941-4690-9136-338BE2272255}"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IN"/>
        </a:p>
      </dgm:t>
    </dgm:pt>
    <dgm:pt modelId="{84458022-BE88-45FB-A3BF-0D362D886263}">
      <dgm:prSet phldrT="[Text]"/>
      <dgm:spPr/>
      <dgm:t>
        <a:bodyPr/>
        <a:lstStyle/>
        <a:p>
          <a:r>
            <a:rPr lang="en-IN" dirty="0"/>
            <a:t>Evaluation</a:t>
          </a:r>
        </a:p>
      </dgm:t>
    </dgm:pt>
    <dgm:pt modelId="{228BE4E5-3023-4BE2-8EF0-5FC3F55F1790}" type="parTrans" cxnId="{23704129-4727-46DB-BD07-CE41D47BD50B}">
      <dgm:prSet/>
      <dgm:spPr/>
      <dgm:t>
        <a:bodyPr/>
        <a:lstStyle/>
        <a:p>
          <a:endParaRPr lang="en-IN"/>
        </a:p>
      </dgm:t>
    </dgm:pt>
    <dgm:pt modelId="{3BAED855-9232-4EF4-A14A-F98241F11BCB}" type="sibTrans" cxnId="{23704129-4727-46DB-BD07-CE41D47BD50B}">
      <dgm:prSet/>
      <dgm:spPr/>
      <dgm:t>
        <a:bodyPr/>
        <a:lstStyle/>
        <a:p>
          <a:endParaRPr lang="en-IN"/>
        </a:p>
      </dgm:t>
    </dgm:pt>
    <dgm:pt modelId="{9CBD03B1-730B-4642-80FD-A174F313DBF2}">
      <dgm:prSet phldrT="[Text]"/>
      <dgm:spPr>
        <a:solidFill>
          <a:srgbClr val="A1F0FB"/>
        </a:solidFill>
      </dgm:spPr>
      <dgm:t>
        <a:bodyPr/>
        <a:lstStyle/>
        <a:p>
          <a:r>
            <a:rPr lang="en-IN" b="1" dirty="0"/>
            <a:t>Extrinsic Evaluation</a:t>
          </a:r>
        </a:p>
      </dgm:t>
    </dgm:pt>
    <dgm:pt modelId="{C6DEC511-C1B2-4B53-9B84-C7A4262C3AAF}" type="parTrans" cxnId="{555AED4E-4FFD-465D-9DDD-4C912E2D40AC}">
      <dgm:prSet/>
      <dgm:spPr/>
      <dgm:t>
        <a:bodyPr/>
        <a:lstStyle/>
        <a:p>
          <a:endParaRPr lang="en-IN"/>
        </a:p>
      </dgm:t>
    </dgm:pt>
    <dgm:pt modelId="{20049761-08A6-4FC4-B0F7-BB88A2F7799A}" type="sibTrans" cxnId="{555AED4E-4FFD-465D-9DDD-4C912E2D40AC}">
      <dgm:prSet/>
      <dgm:spPr/>
      <dgm:t>
        <a:bodyPr/>
        <a:lstStyle/>
        <a:p>
          <a:endParaRPr lang="en-IN"/>
        </a:p>
      </dgm:t>
    </dgm:pt>
    <dgm:pt modelId="{70B8EAE2-877F-41E3-90E9-3DD831F06872}">
      <dgm:prSet phldrT="[Text]"/>
      <dgm:spPr>
        <a:solidFill>
          <a:schemeClr val="accent5">
            <a:lumMod val="60000"/>
            <a:lumOff val="40000"/>
          </a:schemeClr>
        </a:solidFill>
      </dgm:spPr>
      <dgm:t>
        <a:bodyPr/>
        <a:lstStyle/>
        <a:p>
          <a:r>
            <a:rPr lang="en-IN" b="1" dirty="0"/>
            <a:t>Intrinsic Evaluation</a:t>
          </a:r>
        </a:p>
      </dgm:t>
    </dgm:pt>
    <dgm:pt modelId="{56AA7C57-4248-4E6A-A3AD-22697EC8509C}" type="parTrans" cxnId="{6DF6A392-881C-4FD0-A759-24CCD751E9F9}">
      <dgm:prSet/>
      <dgm:spPr/>
      <dgm:t>
        <a:bodyPr/>
        <a:lstStyle/>
        <a:p>
          <a:endParaRPr lang="en-IN"/>
        </a:p>
      </dgm:t>
    </dgm:pt>
    <dgm:pt modelId="{61241B47-DF76-42C0-80F3-0B2B8FBF5E19}" type="sibTrans" cxnId="{6DF6A392-881C-4FD0-A759-24CCD751E9F9}">
      <dgm:prSet/>
      <dgm:spPr/>
      <dgm:t>
        <a:bodyPr/>
        <a:lstStyle/>
        <a:p>
          <a:endParaRPr lang="en-IN"/>
        </a:p>
      </dgm:t>
    </dgm:pt>
    <dgm:pt modelId="{E94A32AD-7F9D-4A80-99EF-388F786A91A6}">
      <dgm:prSet phldrT="[Text]" custT="1"/>
      <dgm:spPr>
        <a:solidFill>
          <a:srgbClr val="FCA0E2"/>
        </a:solidFill>
      </dgm:spPr>
      <dgm:t>
        <a:bodyPr/>
        <a:lstStyle/>
        <a:p>
          <a:pPr marL="0" lvl="0" indent="0" algn="ctr" defTabSz="711200">
            <a:lnSpc>
              <a:spcPct val="90000"/>
            </a:lnSpc>
            <a:spcBef>
              <a:spcPct val="0"/>
            </a:spcBef>
            <a:spcAft>
              <a:spcPct val="35000"/>
            </a:spcAft>
            <a:buNone/>
          </a:pPr>
          <a:r>
            <a:rPr lang="en-IN" sz="1600" kern="1200" dirty="0">
              <a:solidFill>
                <a:prstClr val="white"/>
              </a:solidFill>
              <a:latin typeface="Franklin Gothic Book" panose="020F0502020204030204"/>
              <a:ea typeface="+mn-ea"/>
              <a:cs typeface="+mn-cs"/>
            </a:rPr>
            <a:t>End –End Evaluation-Embed the model into application and measures the performance</a:t>
          </a:r>
        </a:p>
      </dgm:t>
    </dgm:pt>
    <dgm:pt modelId="{0D4D8F3D-8B47-4B6A-99DC-1CF9FBD18C39}" type="parTrans" cxnId="{AACCFCF2-2403-4B77-AA86-6031DDF0066F}">
      <dgm:prSet/>
      <dgm:spPr/>
      <dgm:t>
        <a:bodyPr/>
        <a:lstStyle/>
        <a:p>
          <a:endParaRPr lang="en-IN"/>
        </a:p>
      </dgm:t>
    </dgm:pt>
    <dgm:pt modelId="{A26ED8E9-368D-4A1B-AACB-15F55BC498E0}" type="sibTrans" cxnId="{AACCFCF2-2403-4B77-AA86-6031DDF0066F}">
      <dgm:prSet/>
      <dgm:spPr/>
      <dgm:t>
        <a:bodyPr/>
        <a:lstStyle/>
        <a:p>
          <a:endParaRPr lang="en-IN"/>
        </a:p>
      </dgm:t>
    </dgm:pt>
    <dgm:pt modelId="{A9DB5A39-12AC-44C4-88AE-0DB538ED0D32}">
      <dgm:prSet phldrT="[Text]"/>
      <dgm:spPr>
        <a:solidFill>
          <a:srgbClr val="99CC00"/>
        </a:solidFill>
      </dgm:spPr>
      <dgm:t>
        <a:bodyPr/>
        <a:lstStyle/>
        <a:p>
          <a:r>
            <a:rPr lang="en-IN" dirty="0"/>
            <a:t>It measures the quality of the model independent of the application </a:t>
          </a:r>
        </a:p>
      </dgm:t>
    </dgm:pt>
    <dgm:pt modelId="{454B2F03-73BD-45D7-BDC0-5FFDAA00AD84}" type="parTrans" cxnId="{A843C692-9B19-4A73-9451-DD498173ABC9}">
      <dgm:prSet/>
      <dgm:spPr/>
      <dgm:t>
        <a:bodyPr/>
        <a:lstStyle/>
        <a:p>
          <a:endParaRPr lang="en-IN"/>
        </a:p>
      </dgm:t>
    </dgm:pt>
    <dgm:pt modelId="{B00FF2F2-F496-4270-BA99-BE097BE6FE12}" type="sibTrans" cxnId="{A843C692-9B19-4A73-9451-DD498173ABC9}">
      <dgm:prSet/>
      <dgm:spPr/>
      <dgm:t>
        <a:bodyPr/>
        <a:lstStyle/>
        <a:p>
          <a:endParaRPr lang="en-IN"/>
        </a:p>
      </dgm:t>
    </dgm:pt>
    <dgm:pt modelId="{02691D33-0F50-4D6E-81C0-98F068F1EB8D}">
      <dgm:prSet phldrT="[Text]"/>
      <dgm:spPr>
        <a:solidFill>
          <a:srgbClr val="E329A5"/>
        </a:solidFill>
      </dgm:spPr>
      <dgm:t>
        <a:bodyPr/>
        <a:lstStyle/>
        <a:p>
          <a:r>
            <a:rPr lang="en-IN" dirty="0"/>
            <a:t>Test Corpus is required for evaluation</a:t>
          </a:r>
        </a:p>
        <a:p>
          <a:r>
            <a:rPr lang="en-IN" dirty="0"/>
            <a:t>Whichever model predicts higher probability  to the test set is the best model</a:t>
          </a:r>
        </a:p>
      </dgm:t>
    </dgm:pt>
    <dgm:pt modelId="{09220EA6-9880-4426-91B0-2262272CF5ED}" type="parTrans" cxnId="{AF4C7294-4203-49C8-A097-ADAB4840B5F9}">
      <dgm:prSet/>
      <dgm:spPr/>
      <dgm:t>
        <a:bodyPr/>
        <a:lstStyle/>
        <a:p>
          <a:endParaRPr lang="en-IN"/>
        </a:p>
      </dgm:t>
    </dgm:pt>
    <dgm:pt modelId="{4DA90ED2-2AD5-459D-AE13-ED0C552ABB57}" type="sibTrans" cxnId="{AF4C7294-4203-49C8-A097-ADAB4840B5F9}">
      <dgm:prSet/>
      <dgm:spPr/>
      <dgm:t>
        <a:bodyPr/>
        <a:lstStyle/>
        <a:p>
          <a:endParaRPr lang="en-IN"/>
        </a:p>
      </dgm:t>
    </dgm:pt>
    <dgm:pt modelId="{6807234B-6440-46F8-BC04-2D7A4AF93B82}" type="pres">
      <dgm:prSet presAssocID="{B177A7B2-2941-4690-9136-338BE2272255}" presName="Name0" presStyleCnt="0">
        <dgm:presLayoutVars>
          <dgm:chPref val="1"/>
          <dgm:dir/>
          <dgm:animOne val="branch"/>
          <dgm:animLvl val="lvl"/>
          <dgm:resizeHandles val="exact"/>
        </dgm:presLayoutVars>
      </dgm:prSet>
      <dgm:spPr/>
    </dgm:pt>
    <dgm:pt modelId="{B46E5408-621C-4588-9C09-92066322B679}" type="pres">
      <dgm:prSet presAssocID="{84458022-BE88-45FB-A3BF-0D362D886263}" presName="root1" presStyleCnt="0"/>
      <dgm:spPr/>
    </dgm:pt>
    <dgm:pt modelId="{C82D2CCF-6E8D-44DB-BD53-98E7C54CC340}" type="pres">
      <dgm:prSet presAssocID="{84458022-BE88-45FB-A3BF-0D362D886263}" presName="LevelOneTextNode" presStyleLbl="node0" presStyleIdx="0" presStyleCnt="1">
        <dgm:presLayoutVars>
          <dgm:chPref val="3"/>
        </dgm:presLayoutVars>
      </dgm:prSet>
      <dgm:spPr/>
    </dgm:pt>
    <dgm:pt modelId="{40D6425D-4AAB-486A-9FDC-79700B384AA7}" type="pres">
      <dgm:prSet presAssocID="{84458022-BE88-45FB-A3BF-0D362D886263}" presName="level2hierChild" presStyleCnt="0"/>
      <dgm:spPr/>
    </dgm:pt>
    <dgm:pt modelId="{F368002C-D254-4406-A4DB-133BF74D20A0}" type="pres">
      <dgm:prSet presAssocID="{C6DEC511-C1B2-4B53-9B84-C7A4262C3AAF}" presName="conn2-1" presStyleLbl="parChTrans1D2" presStyleIdx="0" presStyleCnt="2"/>
      <dgm:spPr/>
    </dgm:pt>
    <dgm:pt modelId="{54E5F7E2-3888-40FE-9053-F7592493A54C}" type="pres">
      <dgm:prSet presAssocID="{C6DEC511-C1B2-4B53-9B84-C7A4262C3AAF}" presName="connTx" presStyleLbl="parChTrans1D2" presStyleIdx="0" presStyleCnt="2"/>
      <dgm:spPr/>
    </dgm:pt>
    <dgm:pt modelId="{7FCC92A2-8344-4D0E-B671-B0DCF4961742}" type="pres">
      <dgm:prSet presAssocID="{9CBD03B1-730B-4642-80FD-A174F313DBF2}" presName="root2" presStyleCnt="0"/>
      <dgm:spPr/>
    </dgm:pt>
    <dgm:pt modelId="{FC018ACA-7DD0-4103-85A1-C8593DD2F122}" type="pres">
      <dgm:prSet presAssocID="{9CBD03B1-730B-4642-80FD-A174F313DBF2}" presName="LevelTwoTextNode" presStyleLbl="node2" presStyleIdx="0" presStyleCnt="2">
        <dgm:presLayoutVars>
          <dgm:chPref val="3"/>
        </dgm:presLayoutVars>
      </dgm:prSet>
      <dgm:spPr/>
    </dgm:pt>
    <dgm:pt modelId="{5334AF54-AA04-4BB4-990B-AA52912F3C52}" type="pres">
      <dgm:prSet presAssocID="{9CBD03B1-730B-4642-80FD-A174F313DBF2}" presName="level3hierChild" presStyleCnt="0"/>
      <dgm:spPr/>
    </dgm:pt>
    <dgm:pt modelId="{E61F90D8-275D-4041-B9E3-FE6EDBC383C9}" type="pres">
      <dgm:prSet presAssocID="{0D4D8F3D-8B47-4B6A-99DC-1CF9FBD18C39}" presName="conn2-1" presStyleLbl="parChTrans1D3" presStyleIdx="0" presStyleCnt="2"/>
      <dgm:spPr/>
    </dgm:pt>
    <dgm:pt modelId="{888A42E1-6E37-4A41-86AB-712178163CEC}" type="pres">
      <dgm:prSet presAssocID="{0D4D8F3D-8B47-4B6A-99DC-1CF9FBD18C39}" presName="connTx" presStyleLbl="parChTrans1D3" presStyleIdx="0" presStyleCnt="2"/>
      <dgm:spPr/>
    </dgm:pt>
    <dgm:pt modelId="{C278F15F-29E2-4405-B933-E18CD304D496}" type="pres">
      <dgm:prSet presAssocID="{E94A32AD-7F9D-4A80-99EF-388F786A91A6}" presName="root2" presStyleCnt="0"/>
      <dgm:spPr/>
    </dgm:pt>
    <dgm:pt modelId="{23BF540B-9BDA-4207-852F-41251270460B}" type="pres">
      <dgm:prSet presAssocID="{E94A32AD-7F9D-4A80-99EF-388F786A91A6}" presName="LevelTwoTextNode" presStyleLbl="node3" presStyleIdx="0" presStyleCnt="2" custScaleX="102809" custScaleY="143989">
        <dgm:presLayoutVars>
          <dgm:chPref val="3"/>
        </dgm:presLayoutVars>
      </dgm:prSet>
      <dgm:spPr/>
    </dgm:pt>
    <dgm:pt modelId="{AADB21E4-F1F6-467E-A8A9-861D18A4C92B}" type="pres">
      <dgm:prSet presAssocID="{E94A32AD-7F9D-4A80-99EF-388F786A91A6}" presName="level3hierChild" presStyleCnt="0"/>
      <dgm:spPr/>
    </dgm:pt>
    <dgm:pt modelId="{7F7FA384-12CD-43CE-8458-8D8486517A0B}" type="pres">
      <dgm:prSet presAssocID="{56AA7C57-4248-4E6A-A3AD-22697EC8509C}" presName="conn2-1" presStyleLbl="parChTrans1D2" presStyleIdx="1" presStyleCnt="2"/>
      <dgm:spPr/>
    </dgm:pt>
    <dgm:pt modelId="{969037D3-6E5E-4B32-A460-13BBCDD51E42}" type="pres">
      <dgm:prSet presAssocID="{56AA7C57-4248-4E6A-A3AD-22697EC8509C}" presName="connTx" presStyleLbl="parChTrans1D2" presStyleIdx="1" presStyleCnt="2"/>
      <dgm:spPr/>
    </dgm:pt>
    <dgm:pt modelId="{01F9FABD-BA3A-4061-A8D7-8EDDD9198A5E}" type="pres">
      <dgm:prSet presAssocID="{70B8EAE2-877F-41E3-90E9-3DD831F06872}" presName="root2" presStyleCnt="0"/>
      <dgm:spPr/>
    </dgm:pt>
    <dgm:pt modelId="{8ABA42D3-6009-4D15-8753-7FF52E0E69A1}" type="pres">
      <dgm:prSet presAssocID="{70B8EAE2-877F-41E3-90E9-3DD831F06872}" presName="LevelTwoTextNode" presStyleLbl="node2" presStyleIdx="1" presStyleCnt="2">
        <dgm:presLayoutVars>
          <dgm:chPref val="3"/>
        </dgm:presLayoutVars>
      </dgm:prSet>
      <dgm:spPr/>
    </dgm:pt>
    <dgm:pt modelId="{92110A35-E27A-470B-AC38-88C064ADE33C}" type="pres">
      <dgm:prSet presAssocID="{70B8EAE2-877F-41E3-90E9-3DD831F06872}" presName="level3hierChild" presStyleCnt="0"/>
      <dgm:spPr/>
    </dgm:pt>
    <dgm:pt modelId="{7AB2F099-167B-42A4-AFBC-2823508D1DD0}" type="pres">
      <dgm:prSet presAssocID="{454B2F03-73BD-45D7-BDC0-5FFDAA00AD84}" presName="conn2-1" presStyleLbl="parChTrans1D3" presStyleIdx="1" presStyleCnt="2"/>
      <dgm:spPr/>
    </dgm:pt>
    <dgm:pt modelId="{B78378B2-F50E-4461-A74F-C060CC50CEB3}" type="pres">
      <dgm:prSet presAssocID="{454B2F03-73BD-45D7-BDC0-5FFDAA00AD84}" presName="connTx" presStyleLbl="parChTrans1D3" presStyleIdx="1" presStyleCnt="2"/>
      <dgm:spPr/>
    </dgm:pt>
    <dgm:pt modelId="{F4780EB4-524B-4744-AFE4-CBE861C42D1A}" type="pres">
      <dgm:prSet presAssocID="{A9DB5A39-12AC-44C4-88AE-0DB538ED0D32}" presName="root2" presStyleCnt="0"/>
      <dgm:spPr/>
    </dgm:pt>
    <dgm:pt modelId="{46F1CBF7-B1CE-40B1-BDFF-4F11946F9BAF}" type="pres">
      <dgm:prSet presAssocID="{A9DB5A39-12AC-44C4-88AE-0DB538ED0D32}" presName="LevelTwoTextNode" presStyleLbl="node3" presStyleIdx="1" presStyleCnt="2">
        <dgm:presLayoutVars>
          <dgm:chPref val="3"/>
        </dgm:presLayoutVars>
      </dgm:prSet>
      <dgm:spPr/>
    </dgm:pt>
    <dgm:pt modelId="{09662A0D-3764-4E7F-A191-F38E6E5903B0}" type="pres">
      <dgm:prSet presAssocID="{A9DB5A39-12AC-44C4-88AE-0DB538ED0D32}" presName="level3hierChild" presStyleCnt="0"/>
      <dgm:spPr/>
    </dgm:pt>
    <dgm:pt modelId="{001D8A3A-E7D4-4B92-AC75-66B2F5C62E46}" type="pres">
      <dgm:prSet presAssocID="{09220EA6-9880-4426-91B0-2262272CF5ED}" presName="conn2-1" presStyleLbl="parChTrans1D4" presStyleIdx="0" presStyleCnt="1"/>
      <dgm:spPr/>
    </dgm:pt>
    <dgm:pt modelId="{9CD765A5-F00F-4E44-B80E-2A14A92C939A}" type="pres">
      <dgm:prSet presAssocID="{09220EA6-9880-4426-91B0-2262272CF5ED}" presName="connTx" presStyleLbl="parChTrans1D4" presStyleIdx="0" presStyleCnt="1"/>
      <dgm:spPr/>
    </dgm:pt>
    <dgm:pt modelId="{6030ECED-A387-4AA8-8DCE-5F6DB1F42D42}" type="pres">
      <dgm:prSet presAssocID="{02691D33-0F50-4D6E-81C0-98F068F1EB8D}" presName="root2" presStyleCnt="0"/>
      <dgm:spPr/>
    </dgm:pt>
    <dgm:pt modelId="{9EE57B17-2BFE-48E3-95D6-C515F18DDE34}" type="pres">
      <dgm:prSet presAssocID="{02691D33-0F50-4D6E-81C0-98F068F1EB8D}" presName="LevelTwoTextNode" presStyleLbl="node4" presStyleIdx="0" presStyleCnt="1" custScaleY="196863">
        <dgm:presLayoutVars>
          <dgm:chPref val="3"/>
        </dgm:presLayoutVars>
      </dgm:prSet>
      <dgm:spPr/>
    </dgm:pt>
    <dgm:pt modelId="{5ECCE6C9-1CA1-42D5-854A-A4F83827D6B3}" type="pres">
      <dgm:prSet presAssocID="{02691D33-0F50-4D6E-81C0-98F068F1EB8D}" presName="level3hierChild" presStyleCnt="0"/>
      <dgm:spPr/>
    </dgm:pt>
  </dgm:ptLst>
  <dgm:cxnLst>
    <dgm:cxn modelId="{C619D201-3AF1-4446-A45E-CA4EA436DF30}" type="presOf" srcId="{E94A32AD-7F9D-4A80-99EF-388F786A91A6}" destId="{23BF540B-9BDA-4207-852F-41251270460B}" srcOrd="0" destOrd="0" presId="urn:microsoft.com/office/officeart/2008/layout/HorizontalMultiLevelHierarchy"/>
    <dgm:cxn modelId="{643DA21D-A5E9-4C90-8444-21D942065D0C}" type="presOf" srcId="{9CBD03B1-730B-4642-80FD-A174F313DBF2}" destId="{FC018ACA-7DD0-4103-85A1-C8593DD2F122}" srcOrd="0" destOrd="0" presId="urn:microsoft.com/office/officeart/2008/layout/HorizontalMultiLevelHierarchy"/>
    <dgm:cxn modelId="{5D6BC61D-56AF-462E-8202-B587F589930D}" type="presOf" srcId="{70B8EAE2-877F-41E3-90E9-3DD831F06872}" destId="{8ABA42D3-6009-4D15-8753-7FF52E0E69A1}" srcOrd="0" destOrd="0" presId="urn:microsoft.com/office/officeart/2008/layout/HorizontalMultiLevelHierarchy"/>
    <dgm:cxn modelId="{23704129-4727-46DB-BD07-CE41D47BD50B}" srcId="{B177A7B2-2941-4690-9136-338BE2272255}" destId="{84458022-BE88-45FB-A3BF-0D362D886263}" srcOrd="0" destOrd="0" parTransId="{228BE4E5-3023-4BE2-8EF0-5FC3F55F1790}" sibTransId="{3BAED855-9232-4EF4-A14A-F98241F11BCB}"/>
    <dgm:cxn modelId="{85D65031-EE9D-4FEA-9413-BD450F0A82F6}" type="presOf" srcId="{C6DEC511-C1B2-4B53-9B84-C7A4262C3AAF}" destId="{54E5F7E2-3888-40FE-9053-F7592493A54C}" srcOrd="1" destOrd="0" presId="urn:microsoft.com/office/officeart/2008/layout/HorizontalMultiLevelHierarchy"/>
    <dgm:cxn modelId="{6C440D34-9BF0-4C7E-AFDD-D22F4491E116}" type="presOf" srcId="{C6DEC511-C1B2-4B53-9B84-C7A4262C3AAF}" destId="{F368002C-D254-4406-A4DB-133BF74D20A0}" srcOrd="0" destOrd="0" presId="urn:microsoft.com/office/officeart/2008/layout/HorizontalMultiLevelHierarchy"/>
    <dgm:cxn modelId="{47DA4134-4592-4740-8702-F0697CC9B706}" type="presOf" srcId="{09220EA6-9880-4426-91B0-2262272CF5ED}" destId="{001D8A3A-E7D4-4B92-AC75-66B2F5C62E46}" srcOrd="0" destOrd="0" presId="urn:microsoft.com/office/officeart/2008/layout/HorizontalMultiLevelHierarchy"/>
    <dgm:cxn modelId="{7E54E944-3579-4565-AA87-14CA25C165C6}" type="presOf" srcId="{0D4D8F3D-8B47-4B6A-99DC-1CF9FBD18C39}" destId="{888A42E1-6E37-4A41-86AB-712178163CEC}" srcOrd="1" destOrd="0" presId="urn:microsoft.com/office/officeart/2008/layout/HorizontalMultiLevelHierarchy"/>
    <dgm:cxn modelId="{11122B4E-F7C6-4A73-92A4-90E4B3C252CE}" type="presOf" srcId="{56AA7C57-4248-4E6A-A3AD-22697EC8509C}" destId="{969037D3-6E5E-4B32-A460-13BBCDD51E42}" srcOrd="1" destOrd="0" presId="urn:microsoft.com/office/officeart/2008/layout/HorizontalMultiLevelHierarchy"/>
    <dgm:cxn modelId="{555AED4E-4FFD-465D-9DDD-4C912E2D40AC}" srcId="{84458022-BE88-45FB-A3BF-0D362D886263}" destId="{9CBD03B1-730B-4642-80FD-A174F313DBF2}" srcOrd="0" destOrd="0" parTransId="{C6DEC511-C1B2-4B53-9B84-C7A4262C3AAF}" sibTransId="{20049761-08A6-4FC4-B0F7-BB88A2F7799A}"/>
    <dgm:cxn modelId="{8BE29070-14A8-4296-980D-23EA80773F45}" type="presOf" srcId="{B177A7B2-2941-4690-9136-338BE2272255}" destId="{6807234B-6440-46F8-BC04-2D7A4AF93B82}" srcOrd="0" destOrd="0" presId="urn:microsoft.com/office/officeart/2008/layout/HorizontalMultiLevelHierarchy"/>
    <dgm:cxn modelId="{70CA8472-E582-4962-AFE1-7A3C4E1E401C}" type="presOf" srcId="{02691D33-0F50-4D6E-81C0-98F068F1EB8D}" destId="{9EE57B17-2BFE-48E3-95D6-C515F18DDE34}" srcOrd="0" destOrd="0" presId="urn:microsoft.com/office/officeart/2008/layout/HorizontalMultiLevelHierarchy"/>
    <dgm:cxn modelId="{48D5C172-12AE-4531-A1E7-B897EB585EB5}" type="presOf" srcId="{454B2F03-73BD-45D7-BDC0-5FFDAA00AD84}" destId="{7AB2F099-167B-42A4-AFBC-2823508D1DD0}" srcOrd="0" destOrd="0" presId="urn:microsoft.com/office/officeart/2008/layout/HorizontalMultiLevelHierarchy"/>
    <dgm:cxn modelId="{D1A0468A-4F85-4BC5-B390-7BDA1AFB8B05}" type="presOf" srcId="{A9DB5A39-12AC-44C4-88AE-0DB538ED0D32}" destId="{46F1CBF7-B1CE-40B1-BDFF-4F11946F9BAF}" srcOrd="0" destOrd="0" presId="urn:microsoft.com/office/officeart/2008/layout/HorizontalMultiLevelHierarchy"/>
    <dgm:cxn modelId="{6DF6A392-881C-4FD0-A759-24CCD751E9F9}" srcId="{84458022-BE88-45FB-A3BF-0D362D886263}" destId="{70B8EAE2-877F-41E3-90E9-3DD831F06872}" srcOrd="1" destOrd="0" parTransId="{56AA7C57-4248-4E6A-A3AD-22697EC8509C}" sibTransId="{61241B47-DF76-42C0-80F3-0B2B8FBF5E19}"/>
    <dgm:cxn modelId="{A843C692-9B19-4A73-9451-DD498173ABC9}" srcId="{70B8EAE2-877F-41E3-90E9-3DD831F06872}" destId="{A9DB5A39-12AC-44C4-88AE-0DB538ED0D32}" srcOrd="0" destOrd="0" parTransId="{454B2F03-73BD-45D7-BDC0-5FFDAA00AD84}" sibTransId="{B00FF2F2-F496-4270-BA99-BE097BE6FE12}"/>
    <dgm:cxn modelId="{AF4C7294-4203-49C8-A097-ADAB4840B5F9}" srcId="{A9DB5A39-12AC-44C4-88AE-0DB538ED0D32}" destId="{02691D33-0F50-4D6E-81C0-98F068F1EB8D}" srcOrd="0" destOrd="0" parTransId="{09220EA6-9880-4426-91B0-2262272CF5ED}" sibTransId="{4DA90ED2-2AD5-459D-AE13-ED0C552ABB57}"/>
    <dgm:cxn modelId="{29456C99-85E5-4CAB-B545-462BCD6B2D5A}" type="presOf" srcId="{84458022-BE88-45FB-A3BF-0D362D886263}" destId="{C82D2CCF-6E8D-44DB-BD53-98E7C54CC340}" srcOrd="0" destOrd="0" presId="urn:microsoft.com/office/officeart/2008/layout/HorizontalMultiLevelHierarchy"/>
    <dgm:cxn modelId="{2419FDB7-07B2-4EA3-8DBE-CE1D2E736F5D}" type="presOf" srcId="{09220EA6-9880-4426-91B0-2262272CF5ED}" destId="{9CD765A5-F00F-4E44-B80E-2A14A92C939A}" srcOrd="1" destOrd="0" presId="urn:microsoft.com/office/officeart/2008/layout/HorizontalMultiLevelHierarchy"/>
    <dgm:cxn modelId="{40C8AADB-7381-4F72-8143-9BCD8C308751}" type="presOf" srcId="{454B2F03-73BD-45D7-BDC0-5FFDAA00AD84}" destId="{B78378B2-F50E-4461-A74F-C060CC50CEB3}" srcOrd="1" destOrd="0" presId="urn:microsoft.com/office/officeart/2008/layout/HorizontalMultiLevelHierarchy"/>
    <dgm:cxn modelId="{5DDCE9DB-C1D0-4C84-A3F6-F0226AC3FA2A}" type="presOf" srcId="{0D4D8F3D-8B47-4B6A-99DC-1CF9FBD18C39}" destId="{E61F90D8-275D-4041-B9E3-FE6EDBC383C9}" srcOrd="0" destOrd="0" presId="urn:microsoft.com/office/officeart/2008/layout/HorizontalMultiLevelHierarchy"/>
    <dgm:cxn modelId="{0F7A01EB-DB71-458B-B49D-3FE97EC83BD9}" type="presOf" srcId="{56AA7C57-4248-4E6A-A3AD-22697EC8509C}" destId="{7F7FA384-12CD-43CE-8458-8D8486517A0B}" srcOrd="0" destOrd="0" presId="urn:microsoft.com/office/officeart/2008/layout/HorizontalMultiLevelHierarchy"/>
    <dgm:cxn modelId="{AACCFCF2-2403-4B77-AA86-6031DDF0066F}" srcId="{9CBD03B1-730B-4642-80FD-A174F313DBF2}" destId="{E94A32AD-7F9D-4A80-99EF-388F786A91A6}" srcOrd="0" destOrd="0" parTransId="{0D4D8F3D-8B47-4B6A-99DC-1CF9FBD18C39}" sibTransId="{A26ED8E9-368D-4A1B-AACB-15F55BC498E0}"/>
    <dgm:cxn modelId="{E49EDC5E-FE2E-4465-8E8E-24A56CF3FC77}" type="presParOf" srcId="{6807234B-6440-46F8-BC04-2D7A4AF93B82}" destId="{B46E5408-621C-4588-9C09-92066322B679}" srcOrd="0" destOrd="0" presId="urn:microsoft.com/office/officeart/2008/layout/HorizontalMultiLevelHierarchy"/>
    <dgm:cxn modelId="{39B078B9-A3AB-49C8-995D-377F9F213E08}" type="presParOf" srcId="{B46E5408-621C-4588-9C09-92066322B679}" destId="{C82D2CCF-6E8D-44DB-BD53-98E7C54CC340}" srcOrd="0" destOrd="0" presId="urn:microsoft.com/office/officeart/2008/layout/HorizontalMultiLevelHierarchy"/>
    <dgm:cxn modelId="{8C90E3BA-62AC-4AC0-899A-259D31E415EF}" type="presParOf" srcId="{B46E5408-621C-4588-9C09-92066322B679}" destId="{40D6425D-4AAB-486A-9FDC-79700B384AA7}" srcOrd="1" destOrd="0" presId="urn:microsoft.com/office/officeart/2008/layout/HorizontalMultiLevelHierarchy"/>
    <dgm:cxn modelId="{52341854-E3BB-4A44-BC45-8A0E22768E5F}" type="presParOf" srcId="{40D6425D-4AAB-486A-9FDC-79700B384AA7}" destId="{F368002C-D254-4406-A4DB-133BF74D20A0}" srcOrd="0" destOrd="0" presId="urn:microsoft.com/office/officeart/2008/layout/HorizontalMultiLevelHierarchy"/>
    <dgm:cxn modelId="{72D65A4B-019C-45C6-B61C-8C0BCAE0BA19}" type="presParOf" srcId="{F368002C-D254-4406-A4DB-133BF74D20A0}" destId="{54E5F7E2-3888-40FE-9053-F7592493A54C}" srcOrd="0" destOrd="0" presId="urn:microsoft.com/office/officeart/2008/layout/HorizontalMultiLevelHierarchy"/>
    <dgm:cxn modelId="{CD941EBB-3577-4E8A-B60F-CF624A1FF716}" type="presParOf" srcId="{40D6425D-4AAB-486A-9FDC-79700B384AA7}" destId="{7FCC92A2-8344-4D0E-B671-B0DCF4961742}" srcOrd="1" destOrd="0" presId="urn:microsoft.com/office/officeart/2008/layout/HorizontalMultiLevelHierarchy"/>
    <dgm:cxn modelId="{A76D692D-ACD9-4EF1-875D-F081D21945C4}" type="presParOf" srcId="{7FCC92A2-8344-4D0E-B671-B0DCF4961742}" destId="{FC018ACA-7DD0-4103-85A1-C8593DD2F122}" srcOrd="0" destOrd="0" presId="urn:microsoft.com/office/officeart/2008/layout/HorizontalMultiLevelHierarchy"/>
    <dgm:cxn modelId="{0C234C94-A5B0-4E39-885F-30E83F8FFA8C}" type="presParOf" srcId="{7FCC92A2-8344-4D0E-B671-B0DCF4961742}" destId="{5334AF54-AA04-4BB4-990B-AA52912F3C52}" srcOrd="1" destOrd="0" presId="urn:microsoft.com/office/officeart/2008/layout/HorizontalMultiLevelHierarchy"/>
    <dgm:cxn modelId="{412E0281-1318-477A-98B6-9773FA8F073E}" type="presParOf" srcId="{5334AF54-AA04-4BB4-990B-AA52912F3C52}" destId="{E61F90D8-275D-4041-B9E3-FE6EDBC383C9}" srcOrd="0" destOrd="0" presId="urn:microsoft.com/office/officeart/2008/layout/HorizontalMultiLevelHierarchy"/>
    <dgm:cxn modelId="{706054BE-C147-4B81-BD23-EA103DC8EBB1}" type="presParOf" srcId="{E61F90D8-275D-4041-B9E3-FE6EDBC383C9}" destId="{888A42E1-6E37-4A41-86AB-712178163CEC}" srcOrd="0" destOrd="0" presId="urn:microsoft.com/office/officeart/2008/layout/HorizontalMultiLevelHierarchy"/>
    <dgm:cxn modelId="{084C6B68-F134-4F30-B419-694D061FBC61}" type="presParOf" srcId="{5334AF54-AA04-4BB4-990B-AA52912F3C52}" destId="{C278F15F-29E2-4405-B933-E18CD304D496}" srcOrd="1" destOrd="0" presId="urn:microsoft.com/office/officeart/2008/layout/HorizontalMultiLevelHierarchy"/>
    <dgm:cxn modelId="{FC381AA3-1BE4-449A-BC3F-0365E9A3A7AD}" type="presParOf" srcId="{C278F15F-29E2-4405-B933-E18CD304D496}" destId="{23BF540B-9BDA-4207-852F-41251270460B}" srcOrd="0" destOrd="0" presId="urn:microsoft.com/office/officeart/2008/layout/HorizontalMultiLevelHierarchy"/>
    <dgm:cxn modelId="{25778894-AEE2-4F87-9908-BAF0BD43EDE6}" type="presParOf" srcId="{C278F15F-29E2-4405-B933-E18CD304D496}" destId="{AADB21E4-F1F6-467E-A8A9-861D18A4C92B}" srcOrd="1" destOrd="0" presId="urn:microsoft.com/office/officeart/2008/layout/HorizontalMultiLevelHierarchy"/>
    <dgm:cxn modelId="{62D0A482-22EA-45F4-A60B-0F369FB75633}" type="presParOf" srcId="{40D6425D-4AAB-486A-9FDC-79700B384AA7}" destId="{7F7FA384-12CD-43CE-8458-8D8486517A0B}" srcOrd="2" destOrd="0" presId="urn:microsoft.com/office/officeart/2008/layout/HorizontalMultiLevelHierarchy"/>
    <dgm:cxn modelId="{632BF6C0-26AB-4A03-895E-CB00F42C3886}" type="presParOf" srcId="{7F7FA384-12CD-43CE-8458-8D8486517A0B}" destId="{969037D3-6E5E-4B32-A460-13BBCDD51E42}" srcOrd="0" destOrd="0" presId="urn:microsoft.com/office/officeart/2008/layout/HorizontalMultiLevelHierarchy"/>
    <dgm:cxn modelId="{D4F6D004-C2FA-4851-A925-E4D825C92A0A}" type="presParOf" srcId="{40D6425D-4AAB-486A-9FDC-79700B384AA7}" destId="{01F9FABD-BA3A-4061-A8D7-8EDDD9198A5E}" srcOrd="3" destOrd="0" presId="urn:microsoft.com/office/officeart/2008/layout/HorizontalMultiLevelHierarchy"/>
    <dgm:cxn modelId="{39B23AFA-E4AC-43D9-84A6-176B3D947148}" type="presParOf" srcId="{01F9FABD-BA3A-4061-A8D7-8EDDD9198A5E}" destId="{8ABA42D3-6009-4D15-8753-7FF52E0E69A1}" srcOrd="0" destOrd="0" presId="urn:microsoft.com/office/officeart/2008/layout/HorizontalMultiLevelHierarchy"/>
    <dgm:cxn modelId="{E0EA6DDD-DAC1-441B-B7F2-7CDA30BAE2E2}" type="presParOf" srcId="{01F9FABD-BA3A-4061-A8D7-8EDDD9198A5E}" destId="{92110A35-E27A-470B-AC38-88C064ADE33C}" srcOrd="1" destOrd="0" presId="urn:microsoft.com/office/officeart/2008/layout/HorizontalMultiLevelHierarchy"/>
    <dgm:cxn modelId="{1E642813-6BBC-4C46-97B1-19C1801F3019}" type="presParOf" srcId="{92110A35-E27A-470B-AC38-88C064ADE33C}" destId="{7AB2F099-167B-42A4-AFBC-2823508D1DD0}" srcOrd="0" destOrd="0" presId="urn:microsoft.com/office/officeart/2008/layout/HorizontalMultiLevelHierarchy"/>
    <dgm:cxn modelId="{3B84F577-86E1-46C7-8827-0BCF93E13404}" type="presParOf" srcId="{7AB2F099-167B-42A4-AFBC-2823508D1DD0}" destId="{B78378B2-F50E-4461-A74F-C060CC50CEB3}" srcOrd="0" destOrd="0" presId="urn:microsoft.com/office/officeart/2008/layout/HorizontalMultiLevelHierarchy"/>
    <dgm:cxn modelId="{8302F8B9-8B04-49E6-92EC-3FAF62980FED}" type="presParOf" srcId="{92110A35-E27A-470B-AC38-88C064ADE33C}" destId="{F4780EB4-524B-4744-AFE4-CBE861C42D1A}" srcOrd="1" destOrd="0" presId="urn:microsoft.com/office/officeart/2008/layout/HorizontalMultiLevelHierarchy"/>
    <dgm:cxn modelId="{FBA8CE23-8702-4378-B887-BB90AFC3D061}" type="presParOf" srcId="{F4780EB4-524B-4744-AFE4-CBE861C42D1A}" destId="{46F1CBF7-B1CE-40B1-BDFF-4F11946F9BAF}" srcOrd="0" destOrd="0" presId="urn:microsoft.com/office/officeart/2008/layout/HorizontalMultiLevelHierarchy"/>
    <dgm:cxn modelId="{41DAAF10-6467-4C07-A725-40FC2AA6D6C8}" type="presParOf" srcId="{F4780EB4-524B-4744-AFE4-CBE861C42D1A}" destId="{09662A0D-3764-4E7F-A191-F38E6E5903B0}" srcOrd="1" destOrd="0" presId="urn:microsoft.com/office/officeart/2008/layout/HorizontalMultiLevelHierarchy"/>
    <dgm:cxn modelId="{C481C763-31A4-4A89-B60C-930D3B5AB345}" type="presParOf" srcId="{09662A0D-3764-4E7F-A191-F38E6E5903B0}" destId="{001D8A3A-E7D4-4B92-AC75-66B2F5C62E46}" srcOrd="0" destOrd="0" presId="urn:microsoft.com/office/officeart/2008/layout/HorizontalMultiLevelHierarchy"/>
    <dgm:cxn modelId="{833992FC-C514-4CBE-A038-874F2C8F2BEF}" type="presParOf" srcId="{001D8A3A-E7D4-4B92-AC75-66B2F5C62E46}" destId="{9CD765A5-F00F-4E44-B80E-2A14A92C939A}" srcOrd="0" destOrd="0" presId="urn:microsoft.com/office/officeart/2008/layout/HorizontalMultiLevelHierarchy"/>
    <dgm:cxn modelId="{0D5E49DE-C6B6-47A0-99B0-AA8075F87BE9}" type="presParOf" srcId="{09662A0D-3764-4E7F-A191-F38E6E5903B0}" destId="{6030ECED-A387-4AA8-8DCE-5F6DB1F42D42}" srcOrd="1" destOrd="0" presId="urn:microsoft.com/office/officeart/2008/layout/HorizontalMultiLevelHierarchy"/>
    <dgm:cxn modelId="{FE99225D-CDBC-47E4-B5BB-142CB1EBB021}" type="presParOf" srcId="{6030ECED-A387-4AA8-8DCE-5F6DB1F42D42}" destId="{9EE57B17-2BFE-48E3-95D6-C515F18DDE34}" srcOrd="0" destOrd="0" presId="urn:microsoft.com/office/officeart/2008/layout/HorizontalMultiLevelHierarchy"/>
    <dgm:cxn modelId="{B4477F03-D9C7-4A30-971B-29E3513AC1EF}" type="presParOf" srcId="{6030ECED-A387-4AA8-8DCE-5F6DB1F42D42}" destId="{5ECCE6C9-1CA1-42D5-854A-A4F83827D6B3}"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4714B14-BA98-4403-A749-40FC4BF2F63B}"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IN"/>
        </a:p>
      </dgm:t>
    </dgm:pt>
    <dgm:pt modelId="{FA56CA6D-F0D4-4564-91CA-BD4F41185163}">
      <dgm:prSet phldrT="[Text]" custT="1"/>
      <dgm:spPr/>
      <dgm:t>
        <a:bodyPr/>
        <a:lstStyle/>
        <a:p>
          <a:pPr algn="ctr"/>
          <a:r>
            <a:rPr lang="en-IN" sz="1600" dirty="0"/>
            <a:t>Add one smoothing</a:t>
          </a:r>
        </a:p>
        <a:p>
          <a:pPr algn="ctr"/>
          <a:r>
            <a:rPr lang="en-IN" sz="1600" dirty="0"/>
            <a:t>V – Words in Vocabulary</a:t>
          </a:r>
        </a:p>
      </dgm:t>
    </dgm:pt>
    <dgm:pt modelId="{3CBE15B3-9986-47E0-BFA8-BD34B66322A6}" type="parTrans" cxnId="{C3B2C723-B1D4-4B83-981F-DB854910870D}">
      <dgm:prSet/>
      <dgm:spPr/>
      <dgm:t>
        <a:bodyPr/>
        <a:lstStyle/>
        <a:p>
          <a:endParaRPr lang="en-IN"/>
        </a:p>
      </dgm:t>
    </dgm:pt>
    <dgm:pt modelId="{E397383A-E876-40D5-A19E-4D59701D53AD}" type="sibTrans" cxnId="{C3B2C723-B1D4-4B83-981F-DB854910870D}">
      <dgm:prSet/>
      <dgm:spPr/>
      <dgm:t>
        <a:bodyPr/>
        <a:lstStyle/>
        <a:p>
          <a:endParaRPr lang="en-IN"/>
        </a:p>
      </dgm:t>
    </dgm:pt>
    <dgm:pt modelId="{032B06EC-5F57-4AC7-A36A-07E1CB3C1A97}">
      <dgm:prSet phldrT="[Text]" custT="1"/>
      <dgm:spPr/>
      <dgm:t>
        <a:bodyPr/>
        <a:lstStyle/>
        <a:p>
          <a:r>
            <a:rPr lang="en-IN" sz="1600" dirty="0"/>
            <a:t>Add k Smoothing instead of one fractional count  k added</a:t>
          </a:r>
        </a:p>
      </dgm:t>
    </dgm:pt>
    <dgm:pt modelId="{BB7C240F-2E89-4B24-8A20-11A090BDB23C}" type="parTrans" cxnId="{6C8C9617-FF62-40E6-936F-B149AD4C0420}">
      <dgm:prSet/>
      <dgm:spPr/>
      <dgm:t>
        <a:bodyPr/>
        <a:lstStyle/>
        <a:p>
          <a:endParaRPr lang="en-IN"/>
        </a:p>
      </dgm:t>
    </dgm:pt>
    <dgm:pt modelId="{7F9943F2-5843-4A19-B850-62F9471B7C0A}" type="sibTrans" cxnId="{6C8C9617-FF62-40E6-936F-B149AD4C0420}">
      <dgm:prSet/>
      <dgm:spPr/>
      <dgm:t>
        <a:bodyPr/>
        <a:lstStyle/>
        <a:p>
          <a:endParaRPr lang="en-IN"/>
        </a:p>
      </dgm:t>
    </dgm:pt>
    <dgm:pt modelId="{18E52519-84F7-4D3E-BEDF-B6EE470E3EBC}">
      <dgm:prSet phldrT="[Text]"/>
      <dgm:spPr/>
      <dgm:t>
        <a:bodyPr/>
        <a:lstStyle/>
        <a:p>
          <a:r>
            <a:rPr lang="en-IN" dirty="0"/>
            <a:t>Laplace Smoothing- Add one to all the n gram counts before normalize into probabilities.</a:t>
          </a:r>
        </a:p>
      </dgm:t>
    </dgm:pt>
    <dgm:pt modelId="{086BC673-D1F7-45BC-A22D-2FC4C8B54E7C}" type="sibTrans" cxnId="{6150B515-9E6B-4952-91AB-F95B440F1DD8}">
      <dgm:prSet/>
      <dgm:spPr/>
      <dgm:t>
        <a:bodyPr/>
        <a:lstStyle/>
        <a:p>
          <a:endParaRPr lang="en-IN"/>
        </a:p>
      </dgm:t>
    </dgm:pt>
    <dgm:pt modelId="{2869FCFD-9DED-4FD7-818C-42968586CFBB}" type="parTrans" cxnId="{6150B515-9E6B-4952-91AB-F95B440F1DD8}">
      <dgm:prSet/>
      <dgm:spPr/>
      <dgm:t>
        <a:bodyPr/>
        <a:lstStyle/>
        <a:p>
          <a:endParaRPr lang="en-IN"/>
        </a:p>
      </dgm:t>
    </dgm:pt>
    <dgm:pt modelId="{BB2CC3B8-B317-4F47-BC42-2A3784AC4D8C}">
      <dgm:prSet phldrT="[Text]"/>
      <dgm:spPr/>
      <dgm:t>
        <a:bodyPr/>
        <a:lstStyle/>
        <a:p>
          <a:r>
            <a:rPr lang="en-IN" dirty="0"/>
            <a:t>Absolute discounting: Subtracts a discount d from each count.</a:t>
          </a:r>
        </a:p>
      </dgm:t>
    </dgm:pt>
    <dgm:pt modelId="{92A5EA65-719C-43AA-8A3D-B05A4E4074C7}" type="parTrans" cxnId="{E7B0A5F0-9EBA-4071-BE2E-C8F4EB507390}">
      <dgm:prSet/>
      <dgm:spPr/>
      <dgm:t>
        <a:bodyPr/>
        <a:lstStyle/>
        <a:p>
          <a:endParaRPr lang="en-IN"/>
        </a:p>
      </dgm:t>
    </dgm:pt>
    <dgm:pt modelId="{DE7E00C1-A505-4347-ADD9-4317CEE0B440}" type="sibTrans" cxnId="{E7B0A5F0-9EBA-4071-BE2E-C8F4EB507390}">
      <dgm:prSet/>
      <dgm:spPr/>
      <dgm:t>
        <a:bodyPr/>
        <a:lstStyle/>
        <a:p>
          <a:endParaRPr lang="en-IN"/>
        </a:p>
      </dgm:t>
    </dgm:pt>
    <dgm:pt modelId="{A0280C32-36EB-476F-8497-01D473FEA015}">
      <dgm:prSet phldrT="[Text]" custT="1"/>
      <dgm:spPr/>
      <dgm:t>
        <a:bodyPr/>
        <a:lstStyle/>
        <a:p>
          <a:r>
            <a:rPr lang="en-IN" sz="1600" dirty="0"/>
            <a:t>Backoff :  to lower order n gram only if higher order n gram has zero evidence. Interpolation: Combine different order n grams by interpolation.  </a:t>
          </a:r>
        </a:p>
      </dgm:t>
    </dgm:pt>
    <dgm:pt modelId="{59D9A54D-AFBF-48D4-B04B-726F32E57F9E}" type="parTrans" cxnId="{CD0BE340-5B8B-4B10-94B0-98702331960A}">
      <dgm:prSet/>
      <dgm:spPr/>
      <dgm:t>
        <a:bodyPr/>
        <a:lstStyle/>
        <a:p>
          <a:endParaRPr lang="en-IN"/>
        </a:p>
      </dgm:t>
    </dgm:pt>
    <dgm:pt modelId="{58BDC60F-A3DF-4AFE-82FF-EC4AF036FF1E}" type="sibTrans" cxnId="{CD0BE340-5B8B-4B10-94B0-98702331960A}">
      <dgm:prSet/>
      <dgm:spPr/>
      <dgm:t>
        <a:bodyPr/>
        <a:lstStyle/>
        <a:p>
          <a:endParaRPr lang="en-IN"/>
        </a:p>
      </dgm:t>
    </dgm:pt>
    <dgm:pt modelId="{4673566A-D051-457D-8924-C2D9424025CF}">
      <dgm:prSet phldrT="[Text]"/>
      <dgm:spPr/>
      <dgm:t>
        <a:bodyPr/>
        <a:lstStyle/>
        <a:p>
          <a:r>
            <a:rPr lang="en-IN" dirty="0" err="1"/>
            <a:t>Kneser</a:t>
          </a:r>
          <a:r>
            <a:rPr lang="en-IN" dirty="0"/>
            <a:t>-Ney Smoothing Low order n grams probability estimator.</a:t>
          </a:r>
        </a:p>
        <a:p>
          <a:endParaRPr lang="en-IN" dirty="0"/>
        </a:p>
      </dgm:t>
    </dgm:pt>
    <dgm:pt modelId="{F35E216B-9DAB-40CE-A658-36944A953D3A}" type="parTrans" cxnId="{DE1F6C20-8903-4EFA-B293-15DA8FE35441}">
      <dgm:prSet/>
      <dgm:spPr/>
      <dgm:t>
        <a:bodyPr/>
        <a:lstStyle/>
        <a:p>
          <a:endParaRPr lang="en-IN"/>
        </a:p>
      </dgm:t>
    </dgm:pt>
    <dgm:pt modelId="{5E33E6EE-A302-4783-B93F-5CB79ED419F9}" type="sibTrans" cxnId="{DE1F6C20-8903-4EFA-B293-15DA8FE35441}">
      <dgm:prSet/>
      <dgm:spPr/>
      <dgm:t>
        <a:bodyPr/>
        <a:lstStyle/>
        <a:p>
          <a:endParaRPr lang="en-IN"/>
        </a:p>
      </dgm:t>
    </dgm:pt>
    <dgm:pt modelId="{66F8D77F-C56F-46FE-BE70-F46DBD7C08A9}">
      <dgm:prSet phldrT="[Text]" custT="1"/>
      <dgm:spPr/>
      <dgm:t>
        <a:bodyPr/>
        <a:lstStyle/>
        <a:p>
          <a:r>
            <a:rPr lang="en-IN" sz="1600" dirty="0"/>
            <a:t>A frequent word occurring in only one context has lower  continuation probability</a:t>
          </a:r>
        </a:p>
        <a:p>
          <a:endParaRPr lang="en-IN" sz="1600" dirty="0"/>
        </a:p>
      </dgm:t>
    </dgm:pt>
    <dgm:pt modelId="{B13E1388-5935-4B1D-BD12-54CEAA119F1B}" type="parTrans" cxnId="{1E0725FB-79BA-4BBF-879B-6EE909505DBA}">
      <dgm:prSet/>
      <dgm:spPr/>
      <dgm:t>
        <a:bodyPr/>
        <a:lstStyle/>
        <a:p>
          <a:endParaRPr lang="en-IN"/>
        </a:p>
      </dgm:t>
    </dgm:pt>
    <dgm:pt modelId="{A143B978-6CD5-40C2-8991-EAE659AB645B}" type="sibTrans" cxnId="{1E0725FB-79BA-4BBF-879B-6EE909505DBA}">
      <dgm:prSet/>
      <dgm:spPr/>
      <dgm:t>
        <a:bodyPr/>
        <a:lstStyle/>
        <a:p>
          <a:endParaRPr lang="en-IN"/>
        </a:p>
      </dgm:t>
    </dgm:pt>
    <dgm:pt modelId="{57FE8EA9-2F05-4ABE-AB6A-7F60F3DC50D4}" type="pres">
      <dgm:prSet presAssocID="{E4714B14-BA98-4403-A749-40FC4BF2F63B}" presName="Name0" presStyleCnt="0">
        <dgm:presLayoutVars>
          <dgm:chPref val="1"/>
          <dgm:dir/>
          <dgm:animOne val="branch"/>
          <dgm:animLvl val="lvl"/>
          <dgm:resizeHandles/>
        </dgm:presLayoutVars>
      </dgm:prSet>
      <dgm:spPr/>
    </dgm:pt>
    <dgm:pt modelId="{2C891939-522C-488D-BB66-9317F7997ED7}" type="pres">
      <dgm:prSet presAssocID="{18E52519-84F7-4D3E-BEDF-B6EE470E3EBC}" presName="vertOne" presStyleCnt="0"/>
      <dgm:spPr/>
    </dgm:pt>
    <dgm:pt modelId="{FBA5CFED-4B0C-4755-B6AB-8600BB641C2C}" type="pres">
      <dgm:prSet presAssocID="{18E52519-84F7-4D3E-BEDF-B6EE470E3EBC}" presName="txOne" presStyleLbl="node0" presStyleIdx="0" presStyleCnt="2" custScaleY="67804" custLinFactNeighborX="360" custLinFactNeighborY="-49145">
        <dgm:presLayoutVars>
          <dgm:chPref val="3"/>
        </dgm:presLayoutVars>
      </dgm:prSet>
      <dgm:spPr/>
    </dgm:pt>
    <dgm:pt modelId="{9E9E364E-5272-4B17-8F90-37A5386ADC14}" type="pres">
      <dgm:prSet presAssocID="{18E52519-84F7-4D3E-BEDF-B6EE470E3EBC}" presName="parTransOne" presStyleCnt="0"/>
      <dgm:spPr/>
    </dgm:pt>
    <dgm:pt modelId="{98371AEF-5A99-4B69-B50F-8BA959633EDB}" type="pres">
      <dgm:prSet presAssocID="{18E52519-84F7-4D3E-BEDF-B6EE470E3EBC}" presName="horzOne" presStyleCnt="0"/>
      <dgm:spPr/>
    </dgm:pt>
    <dgm:pt modelId="{5D61FE25-B943-4CA4-9C9F-E0029CB8F056}" type="pres">
      <dgm:prSet presAssocID="{FA56CA6D-F0D4-4564-91CA-BD4F41185163}" presName="vertTwo" presStyleCnt="0"/>
      <dgm:spPr/>
    </dgm:pt>
    <dgm:pt modelId="{B2679090-957F-4C40-AF55-37BE29966C8E}" type="pres">
      <dgm:prSet presAssocID="{FA56CA6D-F0D4-4564-91CA-BD4F41185163}" presName="txTwo" presStyleLbl="node2" presStyleIdx="0" presStyleCnt="5" custScaleX="129105" custScaleY="110131" custLinFactNeighborX="-529" custLinFactNeighborY="-10815">
        <dgm:presLayoutVars>
          <dgm:chPref val="3"/>
        </dgm:presLayoutVars>
      </dgm:prSet>
      <dgm:spPr/>
    </dgm:pt>
    <dgm:pt modelId="{AF52A71A-831D-47C6-B538-D88E8ED8321B}" type="pres">
      <dgm:prSet presAssocID="{FA56CA6D-F0D4-4564-91CA-BD4F41185163}" presName="horzTwo" presStyleCnt="0"/>
      <dgm:spPr/>
    </dgm:pt>
    <dgm:pt modelId="{B6071271-7C16-4C07-9A5D-428E4FEC69BE}" type="pres">
      <dgm:prSet presAssocID="{E397383A-E876-40D5-A19E-4D59701D53AD}" presName="sibSpaceTwo" presStyleCnt="0"/>
      <dgm:spPr/>
    </dgm:pt>
    <dgm:pt modelId="{9F23D25D-844D-4170-B227-8A911E492ECE}" type="pres">
      <dgm:prSet presAssocID="{032B06EC-5F57-4AC7-A36A-07E1CB3C1A97}" presName="vertTwo" presStyleCnt="0"/>
      <dgm:spPr/>
    </dgm:pt>
    <dgm:pt modelId="{246BCFB8-F08C-465E-971A-1BEF30028189}" type="pres">
      <dgm:prSet presAssocID="{032B06EC-5F57-4AC7-A36A-07E1CB3C1A97}" presName="txTwo" presStyleLbl="node2" presStyleIdx="1" presStyleCnt="5" custScaleX="138655" custScaleY="116056" custLinFactNeighborX="-5872" custLinFactNeighborY="-11259">
        <dgm:presLayoutVars>
          <dgm:chPref val="3"/>
        </dgm:presLayoutVars>
      </dgm:prSet>
      <dgm:spPr/>
    </dgm:pt>
    <dgm:pt modelId="{DD013B34-C1D1-41D0-9757-A881EFCAEC4A}" type="pres">
      <dgm:prSet presAssocID="{032B06EC-5F57-4AC7-A36A-07E1CB3C1A97}" presName="horzTwo" presStyleCnt="0"/>
      <dgm:spPr/>
    </dgm:pt>
    <dgm:pt modelId="{7E8F01D0-D6B5-40B1-AF42-7F6FE18C380F}" type="pres">
      <dgm:prSet presAssocID="{7F9943F2-5843-4A19-B850-62F9471B7C0A}" presName="sibSpaceTwo" presStyleCnt="0"/>
      <dgm:spPr/>
    </dgm:pt>
    <dgm:pt modelId="{ED7B693C-B3AE-4A82-B8FA-F55739B6348B}" type="pres">
      <dgm:prSet presAssocID="{A0280C32-36EB-476F-8497-01D473FEA015}" presName="vertTwo" presStyleCnt="0"/>
      <dgm:spPr/>
    </dgm:pt>
    <dgm:pt modelId="{76A7D717-4A10-45EC-9EF7-C59C1877AA55}" type="pres">
      <dgm:prSet presAssocID="{A0280C32-36EB-476F-8497-01D473FEA015}" presName="txTwo" presStyleLbl="node2" presStyleIdx="2" presStyleCnt="5" custScaleX="257622" custScaleY="139854" custLinFactNeighborX="-15616" custLinFactNeighborY="-14922">
        <dgm:presLayoutVars>
          <dgm:chPref val="3"/>
        </dgm:presLayoutVars>
      </dgm:prSet>
      <dgm:spPr/>
    </dgm:pt>
    <dgm:pt modelId="{5DE3AF75-0CE9-46B0-99EB-EAC47EC28BE2}" type="pres">
      <dgm:prSet presAssocID="{A0280C32-36EB-476F-8497-01D473FEA015}" presName="horzTwo" presStyleCnt="0"/>
      <dgm:spPr/>
    </dgm:pt>
    <dgm:pt modelId="{B3D61B60-36E1-4A40-BED6-6536F3693749}" type="pres">
      <dgm:prSet presAssocID="{086BC673-D1F7-45BC-A22D-2FC4C8B54E7C}" presName="sibSpaceOne" presStyleCnt="0"/>
      <dgm:spPr/>
    </dgm:pt>
    <dgm:pt modelId="{94029542-E74B-4137-86B1-875DB328BEBD}" type="pres">
      <dgm:prSet presAssocID="{4673566A-D051-457D-8924-C2D9424025CF}" presName="vertOne" presStyleCnt="0"/>
      <dgm:spPr/>
    </dgm:pt>
    <dgm:pt modelId="{E7114CDD-CEB9-4809-A36E-21DE925E8C5C}" type="pres">
      <dgm:prSet presAssocID="{4673566A-D051-457D-8924-C2D9424025CF}" presName="txOne" presStyleLbl="node0" presStyleIdx="1" presStyleCnt="2">
        <dgm:presLayoutVars>
          <dgm:chPref val="3"/>
        </dgm:presLayoutVars>
      </dgm:prSet>
      <dgm:spPr/>
    </dgm:pt>
    <dgm:pt modelId="{DCF9D8EA-CF52-4372-8C14-9E976F917DCB}" type="pres">
      <dgm:prSet presAssocID="{4673566A-D051-457D-8924-C2D9424025CF}" presName="parTransOne" presStyleCnt="0"/>
      <dgm:spPr/>
    </dgm:pt>
    <dgm:pt modelId="{0D57969C-C47E-47DC-8862-520F8C4F47BC}" type="pres">
      <dgm:prSet presAssocID="{4673566A-D051-457D-8924-C2D9424025CF}" presName="horzOne" presStyleCnt="0"/>
      <dgm:spPr/>
    </dgm:pt>
    <dgm:pt modelId="{54BA9DDD-41D6-4932-ABAA-62541427FC1A}" type="pres">
      <dgm:prSet presAssocID="{BB2CC3B8-B317-4F47-BC42-2A3784AC4D8C}" presName="vertTwo" presStyleCnt="0"/>
      <dgm:spPr/>
    </dgm:pt>
    <dgm:pt modelId="{A678E616-2551-4D89-BACF-64852F065721}" type="pres">
      <dgm:prSet presAssocID="{BB2CC3B8-B317-4F47-BC42-2A3784AC4D8C}" presName="txTwo" presStyleLbl="node2" presStyleIdx="3" presStyleCnt="5" custScaleY="113681">
        <dgm:presLayoutVars>
          <dgm:chPref val="3"/>
        </dgm:presLayoutVars>
      </dgm:prSet>
      <dgm:spPr/>
    </dgm:pt>
    <dgm:pt modelId="{7CE28D79-232D-427A-BFF4-CA5DFB04AE22}" type="pres">
      <dgm:prSet presAssocID="{BB2CC3B8-B317-4F47-BC42-2A3784AC4D8C}" presName="horzTwo" presStyleCnt="0"/>
      <dgm:spPr/>
    </dgm:pt>
    <dgm:pt modelId="{2A25DA13-DD42-4E0A-9181-29614A08ACFE}" type="pres">
      <dgm:prSet presAssocID="{DE7E00C1-A505-4347-ADD9-4317CEE0B440}" presName="sibSpaceTwo" presStyleCnt="0"/>
      <dgm:spPr/>
    </dgm:pt>
    <dgm:pt modelId="{4A0859BD-83FD-41FC-A27E-5963D1841A65}" type="pres">
      <dgm:prSet presAssocID="{66F8D77F-C56F-46FE-BE70-F46DBD7C08A9}" presName="vertTwo" presStyleCnt="0"/>
      <dgm:spPr/>
    </dgm:pt>
    <dgm:pt modelId="{4A0A2808-6C4B-4E8E-8CE2-31304DBB04E2}" type="pres">
      <dgm:prSet presAssocID="{66F8D77F-C56F-46FE-BE70-F46DBD7C08A9}" presName="txTwo" presStyleLbl="node2" presStyleIdx="4" presStyleCnt="5" custScaleY="116937">
        <dgm:presLayoutVars>
          <dgm:chPref val="3"/>
        </dgm:presLayoutVars>
      </dgm:prSet>
      <dgm:spPr/>
    </dgm:pt>
    <dgm:pt modelId="{B0DEECEE-55E1-4F79-B94A-1EBCCC6F282B}" type="pres">
      <dgm:prSet presAssocID="{66F8D77F-C56F-46FE-BE70-F46DBD7C08A9}" presName="horzTwo" presStyleCnt="0"/>
      <dgm:spPr/>
    </dgm:pt>
  </dgm:ptLst>
  <dgm:cxnLst>
    <dgm:cxn modelId="{64DCCA14-B8AD-4446-9537-541EDC333436}" type="presOf" srcId="{66F8D77F-C56F-46FE-BE70-F46DBD7C08A9}" destId="{4A0A2808-6C4B-4E8E-8CE2-31304DBB04E2}" srcOrd="0" destOrd="0" presId="urn:microsoft.com/office/officeart/2005/8/layout/hierarchy4"/>
    <dgm:cxn modelId="{6150B515-9E6B-4952-91AB-F95B440F1DD8}" srcId="{E4714B14-BA98-4403-A749-40FC4BF2F63B}" destId="{18E52519-84F7-4D3E-BEDF-B6EE470E3EBC}" srcOrd="0" destOrd="0" parTransId="{2869FCFD-9DED-4FD7-818C-42968586CFBB}" sibTransId="{086BC673-D1F7-45BC-A22D-2FC4C8B54E7C}"/>
    <dgm:cxn modelId="{6C8C9617-FF62-40E6-936F-B149AD4C0420}" srcId="{18E52519-84F7-4D3E-BEDF-B6EE470E3EBC}" destId="{032B06EC-5F57-4AC7-A36A-07E1CB3C1A97}" srcOrd="1" destOrd="0" parTransId="{BB7C240F-2E89-4B24-8A20-11A090BDB23C}" sibTransId="{7F9943F2-5843-4A19-B850-62F9471B7C0A}"/>
    <dgm:cxn modelId="{DE1F6C20-8903-4EFA-B293-15DA8FE35441}" srcId="{E4714B14-BA98-4403-A749-40FC4BF2F63B}" destId="{4673566A-D051-457D-8924-C2D9424025CF}" srcOrd="1" destOrd="0" parTransId="{F35E216B-9DAB-40CE-A658-36944A953D3A}" sibTransId="{5E33E6EE-A302-4783-B93F-5CB79ED419F9}"/>
    <dgm:cxn modelId="{C3B2C723-B1D4-4B83-981F-DB854910870D}" srcId="{18E52519-84F7-4D3E-BEDF-B6EE470E3EBC}" destId="{FA56CA6D-F0D4-4564-91CA-BD4F41185163}" srcOrd="0" destOrd="0" parTransId="{3CBE15B3-9986-47E0-BFA8-BD34B66322A6}" sibTransId="{E397383A-E876-40D5-A19E-4D59701D53AD}"/>
    <dgm:cxn modelId="{CD0BE340-5B8B-4B10-94B0-98702331960A}" srcId="{18E52519-84F7-4D3E-BEDF-B6EE470E3EBC}" destId="{A0280C32-36EB-476F-8497-01D473FEA015}" srcOrd="2" destOrd="0" parTransId="{59D9A54D-AFBF-48D4-B04B-726F32E57F9E}" sibTransId="{58BDC60F-A3DF-4AFE-82FF-EC4AF036FF1E}"/>
    <dgm:cxn modelId="{C4DA6B44-8FF6-491A-A86E-A2B6E6C5EFA1}" type="presOf" srcId="{A0280C32-36EB-476F-8497-01D473FEA015}" destId="{76A7D717-4A10-45EC-9EF7-C59C1877AA55}" srcOrd="0" destOrd="0" presId="urn:microsoft.com/office/officeart/2005/8/layout/hierarchy4"/>
    <dgm:cxn modelId="{45EC2351-BBA5-4C30-8FAF-27CDE6DB8DA6}" type="presOf" srcId="{FA56CA6D-F0D4-4564-91CA-BD4F41185163}" destId="{B2679090-957F-4C40-AF55-37BE29966C8E}" srcOrd="0" destOrd="0" presId="urn:microsoft.com/office/officeart/2005/8/layout/hierarchy4"/>
    <dgm:cxn modelId="{C5D5C176-0A2C-4650-8E39-ABF67E46F3F5}" type="presOf" srcId="{E4714B14-BA98-4403-A749-40FC4BF2F63B}" destId="{57FE8EA9-2F05-4ABE-AB6A-7F60F3DC50D4}" srcOrd="0" destOrd="0" presId="urn:microsoft.com/office/officeart/2005/8/layout/hierarchy4"/>
    <dgm:cxn modelId="{F5DC7E5A-5D44-4C56-A9ED-8474DFD324CD}" type="presOf" srcId="{BB2CC3B8-B317-4F47-BC42-2A3784AC4D8C}" destId="{A678E616-2551-4D89-BACF-64852F065721}" srcOrd="0" destOrd="0" presId="urn:microsoft.com/office/officeart/2005/8/layout/hierarchy4"/>
    <dgm:cxn modelId="{5E73BE8F-74E1-4134-8771-8FD5BE68606F}" type="presOf" srcId="{18E52519-84F7-4D3E-BEDF-B6EE470E3EBC}" destId="{FBA5CFED-4B0C-4755-B6AB-8600BB641C2C}" srcOrd="0" destOrd="0" presId="urn:microsoft.com/office/officeart/2005/8/layout/hierarchy4"/>
    <dgm:cxn modelId="{77E8ABA3-E8A0-4203-BBFD-856D52C07666}" type="presOf" srcId="{032B06EC-5F57-4AC7-A36A-07E1CB3C1A97}" destId="{246BCFB8-F08C-465E-971A-1BEF30028189}" srcOrd="0" destOrd="0" presId="urn:microsoft.com/office/officeart/2005/8/layout/hierarchy4"/>
    <dgm:cxn modelId="{85A1C7D6-90E8-4B7F-B9A2-69695F1C417C}" type="presOf" srcId="{4673566A-D051-457D-8924-C2D9424025CF}" destId="{E7114CDD-CEB9-4809-A36E-21DE925E8C5C}" srcOrd="0" destOrd="0" presId="urn:microsoft.com/office/officeart/2005/8/layout/hierarchy4"/>
    <dgm:cxn modelId="{E7B0A5F0-9EBA-4071-BE2E-C8F4EB507390}" srcId="{4673566A-D051-457D-8924-C2D9424025CF}" destId="{BB2CC3B8-B317-4F47-BC42-2A3784AC4D8C}" srcOrd="0" destOrd="0" parTransId="{92A5EA65-719C-43AA-8A3D-B05A4E4074C7}" sibTransId="{DE7E00C1-A505-4347-ADD9-4317CEE0B440}"/>
    <dgm:cxn modelId="{1E0725FB-79BA-4BBF-879B-6EE909505DBA}" srcId="{4673566A-D051-457D-8924-C2D9424025CF}" destId="{66F8D77F-C56F-46FE-BE70-F46DBD7C08A9}" srcOrd="1" destOrd="0" parTransId="{B13E1388-5935-4B1D-BD12-54CEAA119F1B}" sibTransId="{A143B978-6CD5-40C2-8991-EAE659AB645B}"/>
    <dgm:cxn modelId="{2BDC565B-FFCC-4C0E-BDE5-A32014DFBB2C}" type="presParOf" srcId="{57FE8EA9-2F05-4ABE-AB6A-7F60F3DC50D4}" destId="{2C891939-522C-488D-BB66-9317F7997ED7}" srcOrd="0" destOrd="0" presId="urn:microsoft.com/office/officeart/2005/8/layout/hierarchy4"/>
    <dgm:cxn modelId="{F3E30518-6AEB-42FB-B9D2-2719F4E49D52}" type="presParOf" srcId="{2C891939-522C-488D-BB66-9317F7997ED7}" destId="{FBA5CFED-4B0C-4755-B6AB-8600BB641C2C}" srcOrd="0" destOrd="0" presId="urn:microsoft.com/office/officeart/2005/8/layout/hierarchy4"/>
    <dgm:cxn modelId="{AD97D7B9-6D5E-46A8-AE63-303FFC091584}" type="presParOf" srcId="{2C891939-522C-488D-BB66-9317F7997ED7}" destId="{9E9E364E-5272-4B17-8F90-37A5386ADC14}" srcOrd="1" destOrd="0" presId="urn:microsoft.com/office/officeart/2005/8/layout/hierarchy4"/>
    <dgm:cxn modelId="{8E1BA6DF-C1BB-4FFD-82EB-5BEA2B079725}" type="presParOf" srcId="{2C891939-522C-488D-BB66-9317F7997ED7}" destId="{98371AEF-5A99-4B69-B50F-8BA959633EDB}" srcOrd="2" destOrd="0" presId="urn:microsoft.com/office/officeart/2005/8/layout/hierarchy4"/>
    <dgm:cxn modelId="{C199C129-9D6A-4893-B2A3-4C3305175DB8}" type="presParOf" srcId="{98371AEF-5A99-4B69-B50F-8BA959633EDB}" destId="{5D61FE25-B943-4CA4-9C9F-E0029CB8F056}" srcOrd="0" destOrd="0" presId="urn:microsoft.com/office/officeart/2005/8/layout/hierarchy4"/>
    <dgm:cxn modelId="{9926947C-3C22-4D24-B73A-71E1942B8886}" type="presParOf" srcId="{5D61FE25-B943-4CA4-9C9F-E0029CB8F056}" destId="{B2679090-957F-4C40-AF55-37BE29966C8E}" srcOrd="0" destOrd="0" presId="urn:microsoft.com/office/officeart/2005/8/layout/hierarchy4"/>
    <dgm:cxn modelId="{AD818B1B-4884-448A-ABC9-8E98EADFC1CF}" type="presParOf" srcId="{5D61FE25-B943-4CA4-9C9F-E0029CB8F056}" destId="{AF52A71A-831D-47C6-B538-D88E8ED8321B}" srcOrd="1" destOrd="0" presId="urn:microsoft.com/office/officeart/2005/8/layout/hierarchy4"/>
    <dgm:cxn modelId="{E1E6BC6F-B420-4B54-A347-46F435FA750F}" type="presParOf" srcId="{98371AEF-5A99-4B69-B50F-8BA959633EDB}" destId="{B6071271-7C16-4C07-9A5D-428E4FEC69BE}" srcOrd="1" destOrd="0" presId="urn:microsoft.com/office/officeart/2005/8/layout/hierarchy4"/>
    <dgm:cxn modelId="{F916DAB5-AAD1-44DA-8D80-E3F85F3ABD78}" type="presParOf" srcId="{98371AEF-5A99-4B69-B50F-8BA959633EDB}" destId="{9F23D25D-844D-4170-B227-8A911E492ECE}" srcOrd="2" destOrd="0" presId="urn:microsoft.com/office/officeart/2005/8/layout/hierarchy4"/>
    <dgm:cxn modelId="{43A33C57-7A68-45C7-96A5-147669A93D1F}" type="presParOf" srcId="{9F23D25D-844D-4170-B227-8A911E492ECE}" destId="{246BCFB8-F08C-465E-971A-1BEF30028189}" srcOrd="0" destOrd="0" presId="urn:microsoft.com/office/officeart/2005/8/layout/hierarchy4"/>
    <dgm:cxn modelId="{2E7F30B6-9215-42B6-B099-07F9ECD8573F}" type="presParOf" srcId="{9F23D25D-844D-4170-B227-8A911E492ECE}" destId="{DD013B34-C1D1-41D0-9757-A881EFCAEC4A}" srcOrd="1" destOrd="0" presId="urn:microsoft.com/office/officeart/2005/8/layout/hierarchy4"/>
    <dgm:cxn modelId="{8E50F3B2-BA72-4F05-A89A-15E4D661AE2B}" type="presParOf" srcId="{98371AEF-5A99-4B69-B50F-8BA959633EDB}" destId="{7E8F01D0-D6B5-40B1-AF42-7F6FE18C380F}" srcOrd="3" destOrd="0" presId="urn:microsoft.com/office/officeart/2005/8/layout/hierarchy4"/>
    <dgm:cxn modelId="{1824BEED-86BB-4D3C-B783-AEE55A273AE2}" type="presParOf" srcId="{98371AEF-5A99-4B69-B50F-8BA959633EDB}" destId="{ED7B693C-B3AE-4A82-B8FA-F55739B6348B}" srcOrd="4" destOrd="0" presId="urn:microsoft.com/office/officeart/2005/8/layout/hierarchy4"/>
    <dgm:cxn modelId="{EDA689B5-0ACA-494E-9895-8D8D8C5AF113}" type="presParOf" srcId="{ED7B693C-B3AE-4A82-B8FA-F55739B6348B}" destId="{76A7D717-4A10-45EC-9EF7-C59C1877AA55}" srcOrd="0" destOrd="0" presId="urn:microsoft.com/office/officeart/2005/8/layout/hierarchy4"/>
    <dgm:cxn modelId="{B4E3BCCB-2BB2-47D0-92F9-D49F7DEA1B73}" type="presParOf" srcId="{ED7B693C-B3AE-4A82-B8FA-F55739B6348B}" destId="{5DE3AF75-0CE9-46B0-99EB-EAC47EC28BE2}" srcOrd="1" destOrd="0" presId="urn:microsoft.com/office/officeart/2005/8/layout/hierarchy4"/>
    <dgm:cxn modelId="{7E383E97-7DCD-4DC0-B763-558081053038}" type="presParOf" srcId="{57FE8EA9-2F05-4ABE-AB6A-7F60F3DC50D4}" destId="{B3D61B60-36E1-4A40-BED6-6536F3693749}" srcOrd="1" destOrd="0" presId="urn:microsoft.com/office/officeart/2005/8/layout/hierarchy4"/>
    <dgm:cxn modelId="{D7597B07-FF51-4340-B5D5-85EF80ADE9FD}" type="presParOf" srcId="{57FE8EA9-2F05-4ABE-AB6A-7F60F3DC50D4}" destId="{94029542-E74B-4137-86B1-875DB328BEBD}" srcOrd="2" destOrd="0" presId="urn:microsoft.com/office/officeart/2005/8/layout/hierarchy4"/>
    <dgm:cxn modelId="{D96F68F7-044E-4302-9492-D1DA29CE7AE1}" type="presParOf" srcId="{94029542-E74B-4137-86B1-875DB328BEBD}" destId="{E7114CDD-CEB9-4809-A36E-21DE925E8C5C}" srcOrd="0" destOrd="0" presId="urn:microsoft.com/office/officeart/2005/8/layout/hierarchy4"/>
    <dgm:cxn modelId="{54D918BD-A4F7-42C8-BD41-7EF08A51EA23}" type="presParOf" srcId="{94029542-E74B-4137-86B1-875DB328BEBD}" destId="{DCF9D8EA-CF52-4372-8C14-9E976F917DCB}" srcOrd="1" destOrd="0" presId="urn:microsoft.com/office/officeart/2005/8/layout/hierarchy4"/>
    <dgm:cxn modelId="{54E8210E-3737-4D5A-9B9D-00BFBBEC9885}" type="presParOf" srcId="{94029542-E74B-4137-86B1-875DB328BEBD}" destId="{0D57969C-C47E-47DC-8862-520F8C4F47BC}" srcOrd="2" destOrd="0" presId="urn:microsoft.com/office/officeart/2005/8/layout/hierarchy4"/>
    <dgm:cxn modelId="{8BB84983-6327-42FC-9B25-6762C6BC7CC6}" type="presParOf" srcId="{0D57969C-C47E-47DC-8862-520F8C4F47BC}" destId="{54BA9DDD-41D6-4932-ABAA-62541427FC1A}" srcOrd="0" destOrd="0" presId="urn:microsoft.com/office/officeart/2005/8/layout/hierarchy4"/>
    <dgm:cxn modelId="{758A11DA-706F-4BEF-9825-20174231DC44}" type="presParOf" srcId="{54BA9DDD-41D6-4932-ABAA-62541427FC1A}" destId="{A678E616-2551-4D89-BACF-64852F065721}" srcOrd="0" destOrd="0" presId="urn:microsoft.com/office/officeart/2005/8/layout/hierarchy4"/>
    <dgm:cxn modelId="{ACA12C59-1800-4238-A5D1-6528BF6C42B4}" type="presParOf" srcId="{54BA9DDD-41D6-4932-ABAA-62541427FC1A}" destId="{7CE28D79-232D-427A-BFF4-CA5DFB04AE22}" srcOrd="1" destOrd="0" presId="urn:microsoft.com/office/officeart/2005/8/layout/hierarchy4"/>
    <dgm:cxn modelId="{21A85D10-3161-4B05-A5E7-07308D5CCFF3}" type="presParOf" srcId="{0D57969C-C47E-47DC-8862-520F8C4F47BC}" destId="{2A25DA13-DD42-4E0A-9181-29614A08ACFE}" srcOrd="1" destOrd="0" presId="urn:microsoft.com/office/officeart/2005/8/layout/hierarchy4"/>
    <dgm:cxn modelId="{C4E1D4D5-CBB2-4D15-92F3-AA2D47773C32}" type="presParOf" srcId="{0D57969C-C47E-47DC-8862-520F8C4F47BC}" destId="{4A0859BD-83FD-41FC-A27E-5963D1841A65}" srcOrd="2" destOrd="0" presId="urn:microsoft.com/office/officeart/2005/8/layout/hierarchy4"/>
    <dgm:cxn modelId="{6F5644DA-24E7-4194-9E29-575D2A8A1B4E}" type="presParOf" srcId="{4A0859BD-83FD-41FC-A27E-5963D1841A65}" destId="{4A0A2808-6C4B-4E8E-8CE2-31304DBB04E2}" srcOrd="0" destOrd="0" presId="urn:microsoft.com/office/officeart/2005/8/layout/hierarchy4"/>
    <dgm:cxn modelId="{84AABC3A-AFBC-402D-AAB8-17CB3640EB36}" type="presParOf" srcId="{4A0859BD-83FD-41FC-A27E-5963D1841A65}" destId="{B0DEECEE-55E1-4F79-B94A-1EBCCC6F282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9C2E3E0-786B-4D92-BEAA-CEE6551F300A}"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IN"/>
        </a:p>
      </dgm:t>
    </dgm:pt>
    <dgm:pt modelId="{FCE6E3D6-27CC-4D70-9882-8B4C636E8996}">
      <dgm:prSet phldrT="[Text]" custT="1"/>
      <dgm:spPr/>
      <dgm:t>
        <a:bodyPr/>
        <a:lstStyle/>
        <a:p>
          <a:r>
            <a:rPr lang="en-US" sz="2400" dirty="0"/>
            <a:t>Text Normalization: Improves </a:t>
          </a:r>
          <a:r>
            <a:rPr lang="en-US" sz="2400" b="0" i="0" dirty="0"/>
            <a:t>quality of the text and making it suitable for machines to process</a:t>
          </a:r>
          <a:endParaRPr lang="en-IN" sz="2400" dirty="0"/>
        </a:p>
      </dgm:t>
    </dgm:pt>
    <dgm:pt modelId="{8D38F52C-59CC-452D-96B6-DCC9C76890DD}" type="parTrans" cxnId="{AB21E834-7E3E-4B45-989E-7CD26C7C764F}">
      <dgm:prSet/>
      <dgm:spPr/>
      <dgm:t>
        <a:bodyPr/>
        <a:lstStyle/>
        <a:p>
          <a:endParaRPr lang="en-IN"/>
        </a:p>
      </dgm:t>
    </dgm:pt>
    <dgm:pt modelId="{EDBD8473-9D04-4357-8211-81543A958BD4}" type="sibTrans" cxnId="{AB21E834-7E3E-4B45-989E-7CD26C7C764F}">
      <dgm:prSet/>
      <dgm:spPr/>
      <dgm:t>
        <a:bodyPr/>
        <a:lstStyle/>
        <a:p>
          <a:endParaRPr lang="en-IN"/>
        </a:p>
      </dgm:t>
    </dgm:pt>
    <dgm:pt modelId="{09FD21E0-06D0-480D-B6FA-02C74C594311}">
      <dgm:prSet phldrT="[Text]"/>
      <dgm:spPr/>
      <dgm:t>
        <a:bodyPr/>
        <a:lstStyle/>
        <a:p>
          <a:r>
            <a:rPr lang="en-US" dirty="0"/>
            <a:t>Case Normalization: P</a:t>
          </a:r>
          <a:r>
            <a:rPr lang="en-US" b="0" i="0" dirty="0"/>
            <a:t>rocess of consolidating multiple spellings of a single word that differ only in capitalization.</a:t>
          </a:r>
          <a:endParaRPr lang="en-IN" dirty="0"/>
        </a:p>
      </dgm:t>
    </dgm:pt>
    <dgm:pt modelId="{3250A469-4F9A-4165-8E91-29B03EC03DE2}" type="parTrans" cxnId="{E6BA6E54-A3F5-4A85-BC50-95CFE1ACEDE7}">
      <dgm:prSet/>
      <dgm:spPr/>
      <dgm:t>
        <a:bodyPr/>
        <a:lstStyle/>
        <a:p>
          <a:endParaRPr lang="en-IN"/>
        </a:p>
      </dgm:t>
    </dgm:pt>
    <dgm:pt modelId="{818C8D11-EC16-483E-A2B9-34ABD3CCDED0}" type="sibTrans" cxnId="{E6BA6E54-A3F5-4A85-BC50-95CFE1ACEDE7}">
      <dgm:prSet/>
      <dgm:spPr/>
      <dgm:t>
        <a:bodyPr/>
        <a:lstStyle/>
        <a:p>
          <a:endParaRPr lang="en-IN"/>
        </a:p>
      </dgm:t>
    </dgm:pt>
    <dgm:pt modelId="{6D83EC78-1935-4050-A0A3-F2DA7DB76665}">
      <dgm:prSet phldrT="[Text]"/>
      <dgm:spPr/>
      <dgm:t>
        <a:bodyPr/>
        <a:lstStyle/>
        <a:p>
          <a:r>
            <a:rPr lang="en-US" dirty="0"/>
            <a:t>Stop Word Removal: </a:t>
          </a:r>
          <a:r>
            <a:rPr lang="en-US" b="0" i="0" dirty="0"/>
            <a:t>Stop words are the English words which does not add much meaning to a sentence.</a:t>
          </a:r>
          <a:endParaRPr lang="en-IN" dirty="0"/>
        </a:p>
      </dgm:t>
    </dgm:pt>
    <dgm:pt modelId="{05691DCE-95B8-447B-BC93-C17567FFB10A}" type="parTrans" cxnId="{6BA7AA7C-12C8-425A-8B98-F78B9164D1A2}">
      <dgm:prSet/>
      <dgm:spPr/>
      <dgm:t>
        <a:bodyPr/>
        <a:lstStyle/>
        <a:p>
          <a:endParaRPr lang="en-IN"/>
        </a:p>
      </dgm:t>
    </dgm:pt>
    <dgm:pt modelId="{88D7C17F-7C3D-4565-A395-7217D1531D44}" type="sibTrans" cxnId="{6BA7AA7C-12C8-425A-8B98-F78B9164D1A2}">
      <dgm:prSet/>
      <dgm:spPr/>
      <dgm:t>
        <a:bodyPr/>
        <a:lstStyle/>
        <a:p>
          <a:endParaRPr lang="en-IN"/>
        </a:p>
      </dgm:t>
    </dgm:pt>
    <dgm:pt modelId="{53517308-A3CE-4966-87AE-AC5FBB08957B}">
      <dgm:prSet phldrT="[Text]" custT="1"/>
      <dgm:spPr/>
      <dgm:t>
        <a:bodyPr/>
        <a:lstStyle/>
        <a:p>
          <a:r>
            <a:rPr lang="en-US" sz="2400" dirty="0"/>
            <a:t>Text Vectorization: Process of </a:t>
          </a:r>
          <a:r>
            <a:rPr lang="en-US" sz="2400" b="0" i="0" dirty="0"/>
            <a:t>converting textual data into numerical representation of features</a:t>
          </a:r>
          <a:endParaRPr lang="en-IN" sz="2400" dirty="0"/>
        </a:p>
      </dgm:t>
    </dgm:pt>
    <dgm:pt modelId="{4C06D408-FE41-40B8-A655-ED3B998B5CB9}" type="parTrans" cxnId="{3F4B8FC8-7B65-47D4-B512-69943271087D}">
      <dgm:prSet/>
      <dgm:spPr/>
      <dgm:t>
        <a:bodyPr/>
        <a:lstStyle/>
        <a:p>
          <a:endParaRPr lang="en-IN"/>
        </a:p>
      </dgm:t>
    </dgm:pt>
    <dgm:pt modelId="{23D72584-0D6A-4136-8C4B-7A37A282D122}" type="sibTrans" cxnId="{3F4B8FC8-7B65-47D4-B512-69943271087D}">
      <dgm:prSet/>
      <dgm:spPr/>
      <dgm:t>
        <a:bodyPr/>
        <a:lstStyle/>
        <a:p>
          <a:endParaRPr lang="en-IN"/>
        </a:p>
      </dgm:t>
    </dgm:pt>
    <dgm:pt modelId="{BF7D1532-2EA8-4EE8-AC8E-A528B708BE31}">
      <dgm:prSet phldrT="[Text]" custT="1"/>
      <dgm:spPr/>
      <dgm:t>
        <a:bodyPr/>
        <a:lstStyle/>
        <a:p>
          <a:r>
            <a:rPr lang="en-US" sz="2000" kern="1200"/>
            <a:t>Count Vectorization- </a:t>
          </a:r>
          <a:r>
            <a:rPr lang="en-US" sz="2000" b="1" i="0" kern="1200">
              <a:latin typeface="Tw Cen MT" panose="020B0602020104020603"/>
              <a:ea typeface="+mn-ea"/>
              <a:cs typeface="+mn-cs"/>
            </a:rPr>
            <a:t>Bags-of-Words</a:t>
          </a:r>
          <a:endParaRPr lang="en-IN" sz="2000" b="1" i="0" kern="1200" dirty="0">
            <a:latin typeface="Tw Cen MT" panose="020B0602020104020603"/>
            <a:ea typeface="+mn-ea"/>
            <a:cs typeface="+mn-cs"/>
          </a:endParaRPr>
        </a:p>
      </dgm:t>
    </dgm:pt>
    <dgm:pt modelId="{42875BAE-26B0-4DC6-A5ED-C88D079A14F2}" type="parTrans" cxnId="{E2FA84E5-27F7-47DD-821F-6D9114701111}">
      <dgm:prSet/>
      <dgm:spPr/>
      <dgm:t>
        <a:bodyPr/>
        <a:lstStyle/>
        <a:p>
          <a:endParaRPr lang="en-IN"/>
        </a:p>
      </dgm:t>
    </dgm:pt>
    <dgm:pt modelId="{E9DEECF8-ECA8-4237-97F4-D3826B36E3CD}" type="sibTrans" cxnId="{E2FA84E5-27F7-47DD-821F-6D9114701111}">
      <dgm:prSet/>
      <dgm:spPr/>
      <dgm:t>
        <a:bodyPr/>
        <a:lstStyle/>
        <a:p>
          <a:endParaRPr lang="en-IN"/>
        </a:p>
      </dgm:t>
    </dgm:pt>
    <dgm:pt modelId="{247F7C0F-743F-47B3-9D73-7E6B9FE1CDDC}">
      <dgm:prSet phldrT="[Text]"/>
      <dgm:spPr/>
      <dgm:t>
        <a:bodyPr/>
        <a:lstStyle/>
        <a:p>
          <a:r>
            <a:rPr lang="en-US" sz="2000" kern="1200" dirty="0"/>
            <a:t>TF-IDF Vectorization- </a:t>
          </a:r>
          <a:r>
            <a:rPr lang="en-US" sz="2000" b="1" i="0" kern="1200" dirty="0"/>
            <a:t>Term Frequency – Inverse Document Frequency</a:t>
          </a:r>
          <a:endParaRPr lang="en-IN" sz="2000" kern="1200" dirty="0"/>
        </a:p>
      </dgm:t>
    </dgm:pt>
    <dgm:pt modelId="{39E0BDFD-9293-468F-97FB-11BD164950C6}" type="parTrans" cxnId="{03772A9E-301C-41EB-8EA9-626065B42F36}">
      <dgm:prSet/>
      <dgm:spPr/>
      <dgm:t>
        <a:bodyPr/>
        <a:lstStyle/>
        <a:p>
          <a:endParaRPr lang="en-IN"/>
        </a:p>
      </dgm:t>
    </dgm:pt>
    <dgm:pt modelId="{6A9726FA-83A5-43B5-8034-D6D8FD4C3BA2}" type="sibTrans" cxnId="{03772A9E-301C-41EB-8EA9-626065B42F36}">
      <dgm:prSet/>
      <dgm:spPr/>
      <dgm:t>
        <a:bodyPr/>
        <a:lstStyle/>
        <a:p>
          <a:endParaRPr lang="en-IN"/>
        </a:p>
      </dgm:t>
    </dgm:pt>
    <dgm:pt modelId="{86510391-15CD-498B-A850-9688A6D61069}">
      <dgm:prSet phldrT="[Text]"/>
      <dgm:spPr/>
      <dgm:t>
        <a:bodyPr/>
        <a:lstStyle/>
        <a:p>
          <a:r>
            <a:rPr lang="en-US" dirty="0"/>
            <a:t>Punctuation Removal: Remove special characters </a:t>
          </a:r>
          <a:endParaRPr lang="en-IN" dirty="0"/>
        </a:p>
      </dgm:t>
    </dgm:pt>
    <dgm:pt modelId="{58546E24-A411-4035-BD35-406D7A66F6B8}" type="parTrans" cxnId="{0CA84443-9EEE-4BA3-B3A9-9262DC8274D3}">
      <dgm:prSet/>
      <dgm:spPr/>
      <dgm:t>
        <a:bodyPr/>
        <a:lstStyle/>
        <a:p>
          <a:endParaRPr lang="en-IN"/>
        </a:p>
      </dgm:t>
    </dgm:pt>
    <dgm:pt modelId="{19717CD6-6091-414B-A838-69A0F688B45A}" type="sibTrans" cxnId="{0CA84443-9EEE-4BA3-B3A9-9262DC8274D3}">
      <dgm:prSet/>
      <dgm:spPr/>
      <dgm:t>
        <a:bodyPr/>
        <a:lstStyle/>
        <a:p>
          <a:endParaRPr lang="en-IN"/>
        </a:p>
      </dgm:t>
    </dgm:pt>
    <dgm:pt modelId="{6EE18BB3-1789-4B82-BDD1-68C18CE1DE85}">
      <dgm:prSet phldrT="[Text]"/>
      <dgm:spPr/>
      <dgm:t>
        <a:bodyPr/>
        <a:lstStyle/>
        <a:p>
          <a:r>
            <a:rPr lang="en-US" dirty="0"/>
            <a:t>Tokenization: Splitting text into paragraphs to sentences to words to characters</a:t>
          </a:r>
          <a:endParaRPr lang="en-IN" dirty="0"/>
        </a:p>
      </dgm:t>
    </dgm:pt>
    <dgm:pt modelId="{A26783E2-256A-4058-A5C8-927649D923BF}" type="parTrans" cxnId="{00AD5B6B-843E-47AC-98F7-A3DB020EC837}">
      <dgm:prSet/>
      <dgm:spPr/>
      <dgm:t>
        <a:bodyPr/>
        <a:lstStyle/>
        <a:p>
          <a:endParaRPr lang="en-IN"/>
        </a:p>
      </dgm:t>
    </dgm:pt>
    <dgm:pt modelId="{DF91A411-6C8A-4059-BD16-9F0883B17F1A}" type="sibTrans" cxnId="{00AD5B6B-843E-47AC-98F7-A3DB020EC837}">
      <dgm:prSet/>
      <dgm:spPr/>
      <dgm:t>
        <a:bodyPr/>
        <a:lstStyle/>
        <a:p>
          <a:endParaRPr lang="en-IN"/>
        </a:p>
      </dgm:t>
    </dgm:pt>
    <dgm:pt modelId="{96055F73-C5F9-4A60-81F1-6E25DDAC35CC}">
      <dgm:prSet phldrT="[Text]"/>
      <dgm:spPr/>
      <dgm:t>
        <a:bodyPr/>
        <a:lstStyle/>
        <a:p>
          <a:r>
            <a:rPr lang="en-US" dirty="0"/>
            <a:t>Stemming: </a:t>
          </a:r>
          <a:r>
            <a:rPr lang="en-US" b="0" i="0" dirty="0"/>
            <a:t>process of reducing inflection in words (e.g. troubled, troubles) to their root form (e.g. trouble) ( remove some characters from words)</a:t>
          </a:r>
          <a:endParaRPr lang="en-IN" dirty="0"/>
        </a:p>
      </dgm:t>
    </dgm:pt>
    <dgm:pt modelId="{81AE6BDE-D082-44C5-830E-BEE0AF0ABE2F}" type="parTrans" cxnId="{2274BBCF-CC68-4360-A664-5B18DC182987}">
      <dgm:prSet/>
      <dgm:spPr/>
      <dgm:t>
        <a:bodyPr/>
        <a:lstStyle/>
        <a:p>
          <a:endParaRPr lang="en-IN"/>
        </a:p>
      </dgm:t>
    </dgm:pt>
    <dgm:pt modelId="{7C65CEA5-781B-4BC2-BE2A-610AA914BEFE}" type="sibTrans" cxnId="{2274BBCF-CC68-4360-A664-5B18DC182987}">
      <dgm:prSet/>
      <dgm:spPr/>
      <dgm:t>
        <a:bodyPr/>
        <a:lstStyle/>
        <a:p>
          <a:endParaRPr lang="en-IN"/>
        </a:p>
      </dgm:t>
    </dgm:pt>
    <dgm:pt modelId="{CDEE44DB-44F7-4AC1-989F-7DF5B365BDB3}">
      <dgm:prSet phldrT="[Text]"/>
      <dgm:spPr/>
      <dgm:t>
        <a:bodyPr/>
        <a:lstStyle/>
        <a:p>
          <a:r>
            <a:rPr lang="en-US" dirty="0"/>
            <a:t>POS Tagging: </a:t>
          </a:r>
          <a:r>
            <a:rPr lang="en-US" b="0" i="0" dirty="0"/>
            <a:t>POS tagging is a task of labelling each word in a sentence with its appropriate part of speech</a:t>
          </a:r>
          <a:endParaRPr lang="en-IN" dirty="0"/>
        </a:p>
      </dgm:t>
    </dgm:pt>
    <dgm:pt modelId="{B01A05B4-BC47-46A5-B9A0-2F6C691D35A7}" type="parTrans" cxnId="{01DEB2C8-4393-49A4-BE53-093B29E1FD50}">
      <dgm:prSet/>
      <dgm:spPr/>
      <dgm:t>
        <a:bodyPr/>
        <a:lstStyle/>
        <a:p>
          <a:endParaRPr lang="en-IN"/>
        </a:p>
      </dgm:t>
    </dgm:pt>
    <dgm:pt modelId="{FBDDBC07-5B29-4E6C-93F4-30A06D46EDFF}" type="sibTrans" cxnId="{01DEB2C8-4393-49A4-BE53-093B29E1FD50}">
      <dgm:prSet/>
      <dgm:spPr/>
      <dgm:t>
        <a:bodyPr/>
        <a:lstStyle/>
        <a:p>
          <a:endParaRPr lang="en-IN"/>
        </a:p>
      </dgm:t>
    </dgm:pt>
    <dgm:pt modelId="{D1689F8F-9F12-4ED7-B90C-96074F490D46}">
      <dgm:prSet phldrT="[Text]"/>
      <dgm:spPr/>
      <dgm:t>
        <a:bodyPr/>
        <a:lstStyle/>
        <a:p>
          <a:r>
            <a:rPr lang="en-US" sz="2000" kern="1200" dirty="0"/>
            <a:t>Word Embeddings- </a:t>
          </a:r>
          <a:r>
            <a:rPr lang="en-US" sz="2000" b="1" kern="1200" dirty="0"/>
            <a:t>Wod2Vec Neural Network Vectorizers</a:t>
          </a:r>
          <a:endParaRPr lang="en-IN" sz="2000" b="1" kern="1200" dirty="0"/>
        </a:p>
      </dgm:t>
    </dgm:pt>
    <dgm:pt modelId="{FD88DD73-24FD-466C-99CD-EE86B6101881}" type="parTrans" cxnId="{9A9999F2-7DE5-4471-92E5-7A026B08D8FB}">
      <dgm:prSet/>
      <dgm:spPr/>
      <dgm:t>
        <a:bodyPr/>
        <a:lstStyle/>
        <a:p>
          <a:endParaRPr lang="en-IN"/>
        </a:p>
      </dgm:t>
    </dgm:pt>
    <dgm:pt modelId="{5BB03208-A60C-48AC-9B97-0FE1164EE15C}" type="sibTrans" cxnId="{9A9999F2-7DE5-4471-92E5-7A026B08D8FB}">
      <dgm:prSet/>
      <dgm:spPr/>
      <dgm:t>
        <a:bodyPr/>
        <a:lstStyle/>
        <a:p>
          <a:endParaRPr lang="en-IN"/>
        </a:p>
      </dgm:t>
    </dgm:pt>
    <dgm:pt modelId="{0B698C4D-5D4C-470D-9B89-30FF5464B181}">
      <dgm:prSet phldrT="[Text]"/>
      <dgm:spPr/>
      <dgm:t>
        <a:bodyPr/>
        <a:lstStyle/>
        <a:p>
          <a:r>
            <a:rPr lang="en-US" dirty="0"/>
            <a:t>Lemmatization: </a:t>
          </a:r>
          <a:r>
            <a:rPr lang="en-US" b="0" i="0" dirty="0"/>
            <a:t>transforms words to the actual root by use specific rules or dictionary lookup approach</a:t>
          </a:r>
          <a:endParaRPr lang="en-IN" dirty="0"/>
        </a:p>
      </dgm:t>
    </dgm:pt>
    <dgm:pt modelId="{E585C21B-206A-40FA-A656-E9EC318B164B}" type="parTrans" cxnId="{F568A339-995E-4241-A9E7-23BB25B7F9D7}">
      <dgm:prSet/>
      <dgm:spPr/>
      <dgm:t>
        <a:bodyPr/>
        <a:lstStyle/>
        <a:p>
          <a:endParaRPr lang="en-IN"/>
        </a:p>
      </dgm:t>
    </dgm:pt>
    <dgm:pt modelId="{C0765202-CC31-4D40-BBA7-4EDAC932E657}" type="sibTrans" cxnId="{F568A339-995E-4241-A9E7-23BB25B7F9D7}">
      <dgm:prSet/>
      <dgm:spPr/>
      <dgm:t>
        <a:bodyPr/>
        <a:lstStyle/>
        <a:p>
          <a:endParaRPr lang="en-IN"/>
        </a:p>
      </dgm:t>
    </dgm:pt>
    <dgm:pt modelId="{CD22619E-05A5-4D4D-BF74-8238D541C8D7}" type="pres">
      <dgm:prSet presAssocID="{A9C2E3E0-786B-4D92-BEAA-CEE6551F300A}" presName="linear" presStyleCnt="0">
        <dgm:presLayoutVars>
          <dgm:dir/>
          <dgm:animLvl val="lvl"/>
          <dgm:resizeHandles val="exact"/>
        </dgm:presLayoutVars>
      </dgm:prSet>
      <dgm:spPr/>
    </dgm:pt>
    <dgm:pt modelId="{4B856D97-BFB0-4509-9E28-75625CE75472}" type="pres">
      <dgm:prSet presAssocID="{FCE6E3D6-27CC-4D70-9882-8B4C636E8996}" presName="parentLin" presStyleCnt="0"/>
      <dgm:spPr/>
    </dgm:pt>
    <dgm:pt modelId="{9294492E-8B97-48B7-9A51-1277701CDB97}" type="pres">
      <dgm:prSet presAssocID="{FCE6E3D6-27CC-4D70-9882-8B4C636E8996}" presName="parentLeftMargin" presStyleLbl="node1" presStyleIdx="0" presStyleCnt="2"/>
      <dgm:spPr/>
    </dgm:pt>
    <dgm:pt modelId="{D55C9D69-12F7-44B4-AEF9-42805929A935}" type="pres">
      <dgm:prSet presAssocID="{FCE6E3D6-27CC-4D70-9882-8B4C636E8996}" presName="parentText" presStyleLbl="node1" presStyleIdx="0" presStyleCnt="2" custScaleX="144124" custScaleY="152166" custLinFactNeighborX="-73638" custLinFactNeighborY="-11533">
        <dgm:presLayoutVars>
          <dgm:chMax val="0"/>
          <dgm:bulletEnabled val="1"/>
        </dgm:presLayoutVars>
      </dgm:prSet>
      <dgm:spPr/>
    </dgm:pt>
    <dgm:pt modelId="{E4E00FBF-B7DC-4B66-BCDB-10D6C07242ED}" type="pres">
      <dgm:prSet presAssocID="{FCE6E3D6-27CC-4D70-9882-8B4C636E8996}" presName="negativeSpace" presStyleCnt="0"/>
      <dgm:spPr/>
    </dgm:pt>
    <dgm:pt modelId="{4A7F0CF8-87BE-46BA-934B-FF30ADA24B60}" type="pres">
      <dgm:prSet presAssocID="{FCE6E3D6-27CC-4D70-9882-8B4C636E8996}" presName="childText" presStyleLbl="conFgAcc1" presStyleIdx="0" presStyleCnt="2">
        <dgm:presLayoutVars>
          <dgm:bulletEnabled val="1"/>
        </dgm:presLayoutVars>
      </dgm:prSet>
      <dgm:spPr/>
    </dgm:pt>
    <dgm:pt modelId="{1FFC5DAB-5C09-4106-9D4B-39F5B7F4B507}" type="pres">
      <dgm:prSet presAssocID="{EDBD8473-9D04-4357-8211-81543A958BD4}" presName="spaceBetweenRectangles" presStyleCnt="0"/>
      <dgm:spPr/>
    </dgm:pt>
    <dgm:pt modelId="{6C270BD5-8795-4F1F-B099-3E4800A8D5F5}" type="pres">
      <dgm:prSet presAssocID="{53517308-A3CE-4966-87AE-AC5FBB08957B}" presName="parentLin" presStyleCnt="0"/>
      <dgm:spPr/>
    </dgm:pt>
    <dgm:pt modelId="{125914ED-0AA3-4E8E-8AA0-A110145AD71A}" type="pres">
      <dgm:prSet presAssocID="{53517308-A3CE-4966-87AE-AC5FBB08957B}" presName="parentLeftMargin" presStyleLbl="node1" presStyleIdx="0" presStyleCnt="2"/>
      <dgm:spPr/>
    </dgm:pt>
    <dgm:pt modelId="{A62E33CB-6173-459A-995A-0394FA46C02E}" type="pres">
      <dgm:prSet presAssocID="{53517308-A3CE-4966-87AE-AC5FBB08957B}" presName="parentText" presStyleLbl="node1" presStyleIdx="1" presStyleCnt="2" custScaleX="142857" custScaleY="124655">
        <dgm:presLayoutVars>
          <dgm:chMax val="0"/>
          <dgm:bulletEnabled val="1"/>
        </dgm:presLayoutVars>
      </dgm:prSet>
      <dgm:spPr/>
    </dgm:pt>
    <dgm:pt modelId="{87F86493-886D-4CE6-9E4D-F1C249F5278D}" type="pres">
      <dgm:prSet presAssocID="{53517308-A3CE-4966-87AE-AC5FBB08957B}" presName="negativeSpace" presStyleCnt="0"/>
      <dgm:spPr/>
    </dgm:pt>
    <dgm:pt modelId="{1BBA5898-EEE3-4A36-97E2-9AC3C35B76A3}" type="pres">
      <dgm:prSet presAssocID="{53517308-A3CE-4966-87AE-AC5FBB08957B}" presName="childText" presStyleLbl="conFgAcc1" presStyleIdx="1" presStyleCnt="2">
        <dgm:presLayoutVars>
          <dgm:bulletEnabled val="1"/>
        </dgm:presLayoutVars>
      </dgm:prSet>
      <dgm:spPr/>
    </dgm:pt>
  </dgm:ptLst>
  <dgm:cxnLst>
    <dgm:cxn modelId="{AB21E834-7E3E-4B45-989E-7CD26C7C764F}" srcId="{A9C2E3E0-786B-4D92-BEAA-CEE6551F300A}" destId="{FCE6E3D6-27CC-4D70-9882-8B4C636E8996}" srcOrd="0" destOrd="0" parTransId="{8D38F52C-59CC-452D-96B6-DCC9C76890DD}" sibTransId="{EDBD8473-9D04-4357-8211-81543A958BD4}"/>
    <dgm:cxn modelId="{03685C35-C597-4B87-B431-1D319F6D796C}" type="presOf" srcId="{FCE6E3D6-27CC-4D70-9882-8B4C636E8996}" destId="{9294492E-8B97-48B7-9A51-1277701CDB97}" srcOrd="0" destOrd="0" presId="urn:microsoft.com/office/officeart/2005/8/layout/list1"/>
    <dgm:cxn modelId="{3E178437-74D7-412A-8FAB-5D815FC8E546}" type="presOf" srcId="{96055F73-C5F9-4A60-81F1-6E25DDAC35CC}" destId="{4A7F0CF8-87BE-46BA-934B-FF30ADA24B60}" srcOrd="0" destOrd="4" presId="urn:microsoft.com/office/officeart/2005/8/layout/list1"/>
    <dgm:cxn modelId="{C8ADB337-31E6-40C2-9E7B-2FEA3F86D28E}" type="presOf" srcId="{53517308-A3CE-4966-87AE-AC5FBB08957B}" destId="{125914ED-0AA3-4E8E-8AA0-A110145AD71A}" srcOrd="0" destOrd="0" presId="urn:microsoft.com/office/officeart/2005/8/layout/list1"/>
    <dgm:cxn modelId="{B2C40538-BC58-4487-AD88-06430AB46774}" type="presOf" srcId="{CDEE44DB-44F7-4AC1-989F-7DF5B365BDB3}" destId="{4A7F0CF8-87BE-46BA-934B-FF30ADA24B60}" srcOrd="0" destOrd="6" presId="urn:microsoft.com/office/officeart/2005/8/layout/list1"/>
    <dgm:cxn modelId="{F568A339-995E-4241-A9E7-23BB25B7F9D7}" srcId="{FCE6E3D6-27CC-4D70-9882-8B4C636E8996}" destId="{0B698C4D-5D4C-470D-9B89-30FF5464B181}" srcOrd="5" destOrd="0" parTransId="{E585C21B-206A-40FA-A656-E9EC318B164B}" sibTransId="{C0765202-CC31-4D40-BBA7-4EDAC932E657}"/>
    <dgm:cxn modelId="{0CA84443-9EEE-4BA3-B3A9-9262DC8274D3}" srcId="{FCE6E3D6-27CC-4D70-9882-8B4C636E8996}" destId="{86510391-15CD-498B-A850-9688A6D61069}" srcOrd="2" destOrd="0" parTransId="{58546E24-A411-4035-BD35-406D7A66F6B8}" sibTransId="{19717CD6-6091-414B-A838-69A0F688B45A}"/>
    <dgm:cxn modelId="{00AD5B6B-843E-47AC-98F7-A3DB020EC837}" srcId="{FCE6E3D6-27CC-4D70-9882-8B4C636E8996}" destId="{6EE18BB3-1789-4B82-BDD1-68C18CE1DE85}" srcOrd="3" destOrd="0" parTransId="{A26783E2-256A-4058-A5C8-927649D923BF}" sibTransId="{DF91A411-6C8A-4059-BD16-9F0883B17F1A}"/>
    <dgm:cxn modelId="{1033346F-6EA9-480A-BCB5-EA39338DAC69}" type="presOf" srcId="{0B698C4D-5D4C-470D-9B89-30FF5464B181}" destId="{4A7F0CF8-87BE-46BA-934B-FF30ADA24B60}" srcOrd="0" destOrd="5" presId="urn:microsoft.com/office/officeart/2005/8/layout/list1"/>
    <dgm:cxn modelId="{E6BA6E54-A3F5-4A85-BC50-95CFE1ACEDE7}" srcId="{FCE6E3D6-27CC-4D70-9882-8B4C636E8996}" destId="{09FD21E0-06D0-480D-B6FA-02C74C594311}" srcOrd="0" destOrd="0" parTransId="{3250A469-4F9A-4165-8E91-29B03EC03DE2}" sibTransId="{818C8D11-EC16-483E-A2B9-34ABD3CCDED0}"/>
    <dgm:cxn modelId="{6BA7AA7C-12C8-425A-8B98-F78B9164D1A2}" srcId="{FCE6E3D6-27CC-4D70-9882-8B4C636E8996}" destId="{6D83EC78-1935-4050-A0A3-F2DA7DB76665}" srcOrd="1" destOrd="0" parTransId="{05691DCE-95B8-447B-BC93-C17567FFB10A}" sibTransId="{88D7C17F-7C3D-4565-A395-7217D1531D44}"/>
    <dgm:cxn modelId="{7CB7139D-1AD5-42EE-83B2-406E4FFB278D}" type="presOf" srcId="{86510391-15CD-498B-A850-9688A6D61069}" destId="{4A7F0CF8-87BE-46BA-934B-FF30ADA24B60}" srcOrd="0" destOrd="2" presId="urn:microsoft.com/office/officeart/2005/8/layout/list1"/>
    <dgm:cxn modelId="{03772A9E-301C-41EB-8EA9-626065B42F36}" srcId="{53517308-A3CE-4966-87AE-AC5FBB08957B}" destId="{247F7C0F-743F-47B3-9D73-7E6B9FE1CDDC}" srcOrd="1" destOrd="0" parTransId="{39E0BDFD-9293-468F-97FB-11BD164950C6}" sibTransId="{6A9726FA-83A5-43B5-8034-D6D8FD4C3BA2}"/>
    <dgm:cxn modelId="{5C4CBBB6-FFAA-473E-BB0B-E12574803A80}" type="presOf" srcId="{6D83EC78-1935-4050-A0A3-F2DA7DB76665}" destId="{4A7F0CF8-87BE-46BA-934B-FF30ADA24B60}" srcOrd="0" destOrd="1" presId="urn:microsoft.com/office/officeart/2005/8/layout/list1"/>
    <dgm:cxn modelId="{425F56C0-7E49-43FD-8764-A4B16474D855}" type="presOf" srcId="{09FD21E0-06D0-480D-B6FA-02C74C594311}" destId="{4A7F0CF8-87BE-46BA-934B-FF30ADA24B60}" srcOrd="0" destOrd="0" presId="urn:microsoft.com/office/officeart/2005/8/layout/list1"/>
    <dgm:cxn modelId="{A8627AC3-0E39-4BF4-BFFA-036CBCE414F3}" type="presOf" srcId="{53517308-A3CE-4966-87AE-AC5FBB08957B}" destId="{A62E33CB-6173-459A-995A-0394FA46C02E}" srcOrd="1" destOrd="0" presId="urn:microsoft.com/office/officeart/2005/8/layout/list1"/>
    <dgm:cxn modelId="{3F4B8FC8-7B65-47D4-B512-69943271087D}" srcId="{A9C2E3E0-786B-4D92-BEAA-CEE6551F300A}" destId="{53517308-A3CE-4966-87AE-AC5FBB08957B}" srcOrd="1" destOrd="0" parTransId="{4C06D408-FE41-40B8-A655-ED3B998B5CB9}" sibTransId="{23D72584-0D6A-4136-8C4B-7A37A282D122}"/>
    <dgm:cxn modelId="{01DEB2C8-4393-49A4-BE53-093B29E1FD50}" srcId="{FCE6E3D6-27CC-4D70-9882-8B4C636E8996}" destId="{CDEE44DB-44F7-4AC1-989F-7DF5B365BDB3}" srcOrd="6" destOrd="0" parTransId="{B01A05B4-BC47-46A5-B9A0-2F6C691D35A7}" sibTransId="{FBDDBC07-5B29-4E6C-93F4-30A06D46EDFF}"/>
    <dgm:cxn modelId="{2274BBCF-CC68-4360-A664-5B18DC182987}" srcId="{FCE6E3D6-27CC-4D70-9882-8B4C636E8996}" destId="{96055F73-C5F9-4A60-81F1-6E25DDAC35CC}" srcOrd="4" destOrd="0" parTransId="{81AE6BDE-D082-44C5-830E-BEE0AF0ABE2F}" sibTransId="{7C65CEA5-781B-4BC2-BE2A-610AA914BEFE}"/>
    <dgm:cxn modelId="{C6F696DF-BC3A-4A91-B6EC-1A8378D09203}" type="presOf" srcId="{A9C2E3E0-786B-4D92-BEAA-CEE6551F300A}" destId="{CD22619E-05A5-4D4D-BF74-8238D541C8D7}" srcOrd="0" destOrd="0" presId="urn:microsoft.com/office/officeart/2005/8/layout/list1"/>
    <dgm:cxn modelId="{E2FA84E5-27F7-47DD-821F-6D9114701111}" srcId="{53517308-A3CE-4966-87AE-AC5FBB08957B}" destId="{BF7D1532-2EA8-4EE8-AC8E-A528B708BE31}" srcOrd="0" destOrd="0" parTransId="{42875BAE-26B0-4DC6-A5ED-C88D079A14F2}" sibTransId="{E9DEECF8-ECA8-4237-97F4-D3826B36E3CD}"/>
    <dgm:cxn modelId="{CF1C1FED-4399-48D1-99D8-B33E2D961469}" type="presOf" srcId="{247F7C0F-743F-47B3-9D73-7E6B9FE1CDDC}" destId="{1BBA5898-EEE3-4A36-97E2-9AC3C35B76A3}" srcOrd="0" destOrd="1" presId="urn:microsoft.com/office/officeart/2005/8/layout/list1"/>
    <dgm:cxn modelId="{9A9999F2-7DE5-4471-92E5-7A026B08D8FB}" srcId="{53517308-A3CE-4966-87AE-AC5FBB08957B}" destId="{D1689F8F-9F12-4ED7-B90C-96074F490D46}" srcOrd="2" destOrd="0" parTransId="{FD88DD73-24FD-466C-99CD-EE86B6101881}" sibTransId="{5BB03208-A60C-48AC-9B97-0FE1164EE15C}"/>
    <dgm:cxn modelId="{17991DF9-382D-460B-9144-21717874D766}" type="presOf" srcId="{D1689F8F-9F12-4ED7-B90C-96074F490D46}" destId="{1BBA5898-EEE3-4A36-97E2-9AC3C35B76A3}" srcOrd="0" destOrd="2" presId="urn:microsoft.com/office/officeart/2005/8/layout/list1"/>
    <dgm:cxn modelId="{B2788EF9-C3EA-4701-AEBF-17F33477DD85}" type="presOf" srcId="{6EE18BB3-1789-4B82-BDD1-68C18CE1DE85}" destId="{4A7F0CF8-87BE-46BA-934B-FF30ADA24B60}" srcOrd="0" destOrd="3" presId="urn:microsoft.com/office/officeart/2005/8/layout/list1"/>
    <dgm:cxn modelId="{E2DC1FFA-7365-47AA-B663-8319333F6D62}" type="presOf" srcId="{BF7D1532-2EA8-4EE8-AC8E-A528B708BE31}" destId="{1BBA5898-EEE3-4A36-97E2-9AC3C35B76A3}" srcOrd="0" destOrd="0" presId="urn:microsoft.com/office/officeart/2005/8/layout/list1"/>
    <dgm:cxn modelId="{8637B4FB-BF30-4D85-AD6F-12ADA80CEBB3}" type="presOf" srcId="{FCE6E3D6-27CC-4D70-9882-8B4C636E8996}" destId="{D55C9D69-12F7-44B4-AEF9-42805929A935}" srcOrd="1" destOrd="0" presId="urn:microsoft.com/office/officeart/2005/8/layout/list1"/>
    <dgm:cxn modelId="{84F7CA12-090D-4703-B104-9A734112AF63}" type="presParOf" srcId="{CD22619E-05A5-4D4D-BF74-8238D541C8D7}" destId="{4B856D97-BFB0-4509-9E28-75625CE75472}" srcOrd="0" destOrd="0" presId="urn:microsoft.com/office/officeart/2005/8/layout/list1"/>
    <dgm:cxn modelId="{D79E11CA-5722-4376-9665-513C325D74CB}" type="presParOf" srcId="{4B856D97-BFB0-4509-9E28-75625CE75472}" destId="{9294492E-8B97-48B7-9A51-1277701CDB97}" srcOrd="0" destOrd="0" presId="urn:microsoft.com/office/officeart/2005/8/layout/list1"/>
    <dgm:cxn modelId="{6175BEC8-F0FF-4DBF-A5C1-A9A2A1CF984F}" type="presParOf" srcId="{4B856D97-BFB0-4509-9E28-75625CE75472}" destId="{D55C9D69-12F7-44B4-AEF9-42805929A935}" srcOrd="1" destOrd="0" presId="urn:microsoft.com/office/officeart/2005/8/layout/list1"/>
    <dgm:cxn modelId="{8937DAB7-30A5-417D-8D0B-5158CA2078B5}" type="presParOf" srcId="{CD22619E-05A5-4D4D-BF74-8238D541C8D7}" destId="{E4E00FBF-B7DC-4B66-BCDB-10D6C07242ED}" srcOrd="1" destOrd="0" presId="urn:microsoft.com/office/officeart/2005/8/layout/list1"/>
    <dgm:cxn modelId="{2A6826DA-DCE4-45DC-B302-F4E82BCFB8E2}" type="presParOf" srcId="{CD22619E-05A5-4D4D-BF74-8238D541C8D7}" destId="{4A7F0CF8-87BE-46BA-934B-FF30ADA24B60}" srcOrd="2" destOrd="0" presId="urn:microsoft.com/office/officeart/2005/8/layout/list1"/>
    <dgm:cxn modelId="{2A1A1382-23C1-4DBC-BF07-67BD6A1C7056}" type="presParOf" srcId="{CD22619E-05A5-4D4D-BF74-8238D541C8D7}" destId="{1FFC5DAB-5C09-4106-9D4B-39F5B7F4B507}" srcOrd="3" destOrd="0" presId="urn:microsoft.com/office/officeart/2005/8/layout/list1"/>
    <dgm:cxn modelId="{C6D5CC0B-CAED-423E-8F66-1118A43D33CD}" type="presParOf" srcId="{CD22619E-05A5-4D4D-BF74-8238D541C8D7}" destId="{6C270BD5-8795-4F1F-B099-3E4800A8D5F5}" srcOrd="4" destOrd="0" presId="urn:microsoft.com/office/officeart/2005/8/layout/list1"/>
    <dgm:cxn modelId="{068A96CB-1C82-460F-9BE0-74AD8C9A3205}" type="presParOf" srcId="{6C270BD5-8795-4F1F-B099-3E4800A8D5F5}" destId="{125914ED-0AA3-4E8E-8AA0-A110145AD71A}" srcOrd="0" destOrd="0" presId="urn:microsoft.com/office/officeart/2005/8/layout/list1"/>
    <dgm:cxn modelId="{9B5616C6-C31F-4DB7-AD5C-7271753601EF}" type="presParOf" srcId="{6C270BD5-8795-4F1F-B099-3E4800A8D5F5}" destId="{A62E33CB-6173-459A-995A-0394FA46C02E}" srcOrd="1" destOrd="0" presId="urn:microsoft.com/office/officeart/2005/8/layout/list1"/>
    <dgm:cxn modelId="{5378AD0C-3DBE-4D28-829A-05F8A799A767}" type="presParOf" srcId="{CD22619E-05A5-4D4D-BF74-8238D541C8D7}" destId="{87F86493-886D-4CE6-9E4D-F1C249F5278D}" srcOrd="5" destOrd="0" presId="urn:microsoft.com/office/officeart/2005/8/layout/list1"/>
    <dgm:cxn modelId="{2EBB8FD3-6ACD-4FAB-8794-565973DA7C51}" type="presParOf" srcId="{CD22619E-05A5-4D4D-BF74-8238D541C8D7}" destId="{1BBA5898-EEE3-4A36-97E2-9AC3C35B76A3}"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9BC3D35-8523-4F88-8FA9-01BA7D97EA0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B83E8B23-7D19-4BF0-8556-3EABB0419D3D}">
      <dgm:prSet phldrT="[Text]"/>
      <dgm:spPr/>
      <dgm:t>
        <a:bodyPr/>
        <a:lstStyle/>
        <a:p>
          <a:r>
            <a:rPr lang="en-IN" dirty="0"/>
            <a:t>CBOW Model</a:t>
          </a:r>
        </a:p>
      </dgm:t>
    </dgm:pt>
    <dgm:pt modelId="{6C0259A3-145B-4D0F-99EB-AEA43B2F8DD2}" type="parTrans" cxnId="{1BC6979D-E53E-4C81-83BE-440FF14A4E9B}">
      <dgm:prSet/>
      <dgm:spPr/>
      <dgm:t>
        <a:bodyPr/>
        <a:lstStyle/>
        <a:p>
          <a:endParaRPr lang="en-IN"/>
        </a:p>
      </dgm:t>
    </dgm:pt>
    <dgm:pt modelId="{BEBC089D-7DB0-421B-AF9A-F89185C1C4C1}" type="sibTrans" cxnId="{1BC6979D-E53E-4C81-83BE-440FF14A4E9B}">
      <dgm:prSet/>
      <dgm:spPr/>
      <dgm:t>
        <a:bodyPr/>
        <a:lstStyle/>
        <a:p>
          <a:endParaRPr lang="en-IN"/>
        </a:p>
      </dgm:t>
    </dgm:pt>
    <dgm:pt modelId="{C048D373-E8D6-4C39-8C78-33BE42DCB4AB}">
      <dgm:prSet phldrT="[Text]"/>
      <dgm:spPr/>
      <dgm:t>
        <a:bodyPr/>
        <a:lstStyle/>
        <a:p>
          <a:r>
            <a:rPr lang="en-IN" dirty="0"/>
            <a:t>NN predict the target word from the context words</a:t>
          </a:r>
        </a:p>
      </dgm:t>
    </dgm:pt>
    <dgm:pt modelId="{90DE8F0E-41D5-480C-8779-7E47590E5B49}" type="parTrans" cxnId="{F2342A10-5A9D-4186-A864-DEAF4C8F5E6C}">
      <dgm:prSet/>
      <dgm:spPr/>
      <dgm:t>
        <a:bodyPr/>
        <a:lstStyle/>
        <a:p>
          <a:endParaRPr lang="en-IN"/>
        </a:p>
      </dgm:t>
    </dgm:pt>
    <dgm:pt modelId="{0380DDF6-9434-4CC2-9C6B-C5AA35F69452}" type="sibTrans" cxnId="{F2342A10-5A9D-4186-A864-DEAF4C8F5E6C}">
      <dgm:prSet/>
      <dgm:spPr/>
      <dgm:t>
        <a:bodyPr/>
        <a:lstStyle/>
        <a:p>
          <a:endParaRPr lang="en-IN"/>
        </a:p>
      </dgm:t>
    </dgm:pt>
    <dgm:pt modelId="{6BA2F2A8-31BA-430C-9094-4EE854C050C6}">
      <dgm:prSet phldrT="[Text]"/>
      <dgm:spPr/>
      <dgm:t>
        <a:bodyPr/>
        <a:lstStyle/>
        <a:p>
          <a:r>
            <a:rPr lang="en-IN" dirty="0"/>
            <a:t>Skip gram</a:t>
          </a:r>
        </a:p>
      </dgm:t>
    </dgm:pt>
    <dgm:pt modelId="{FE6EB9C7-27EE-4239-8A98-2B63AECFE3C8}" type="parTrans" cxnId="{51BD2473-2EAF-4E4F-B412-036CEFBDA27E}">
      <dgm:prSet/>
      <dgm:spPr/>
      <dgm:t>
        <a:bodyPr/>
        <a:lstStyle/>
        <a:p>
          <a:endParaRPr lang="en-IN"/>
        </a:p>
      </dgm:t>
    </dgm:pt>
    <dgm:pt modelId="{79A3563C-253F-4ED2-A454-A18596B74579}" type="sibTrans" cxnId="{51BD2473-2EAF-4E4F-B412-036CEFBDA27E}">
      <dgm:prSet/>
      <dgm:spPr/>
      <dgm:t>
        <a:bodyPr/>
        <a:lstStyle/>
        <a:p>
          <a:endParaRPr lang="en-IN"/>
        </a:p>
      </dgm:t>
    </dgm:pt>
    <dgm:pt modelId="{12DFEC58-2792-4DD1-AEF1-B618D5669A03}">
      <dgm:prSet phldrT="[Text]"/>
      <dgm:spPr/>
      <dgm:t>
        <a:bodyPr/>
        <a:lstStyle/>
        <a:p>
          <a:r>
            <a:rPr lang="en-IN" dirty="0"/>
            <a:t>NN predicts the context word from the given target word</a:t>
          </a:r>
        </a:p>
      </dgm:t>
    </dgm:pt>
    <dgm:pt modelId="{2657EE6E-260F-4F94-B1E1-923B531B85A2}" type="parTrans" cxnId="{004F1984-6952-400D-8628-296B07EEF02F}">
      <dgm:prSet/>
      <dgm:spPr/>
      <dgm:t>
        <a:bodyPr/>
        <a:lstStyle/>
        <a:p>
          <a:endParaRPr lang="en-IN"/>
        </a:p>
      </dgm:t>
    </dgm:pt>
    <dgm:pt modelId="{EC9FD561-B4ED-469B-B231-5DEE95DB706D}" type="sibTrans" cxnId="{004F1984-6952-400D-8628-296B07EEF02F}">
      <dgm:prSet/>
      <dgm:spPr/>
      <dgm:t>
        <a:bodyPr/>
        <a:lstStyle/>
        <a:p>
          <a:endParaRPr lang="en-IN"/>
        </a:p>
      </dgm:t>
    </dgm:pt>
    <dgm:pt modelId="{D353F509-AE39-4580-A294-D13046B485C8}" type="pres">
      <dgm:prSet presAssocID="{89BC3D35-8523-4F88-8FA9-01BA7D97EA0B}" presName="linear" presStyleCnt="0">
        <dgm:presLayoutVars>
          <dgm:animLvl val="lvl"/>
          <dgm:resizeHandles val="exact"/>
        </dgm:presLayoutVars>
      </dgm:prSet>
      <dgm:spPr/>
    </dgm:pt>
    <dgm:pt modelId="{A80BA0E1-AD3F-495B-ABC5-8DA062E4BF31}" type="pres">
      <dgm:prSet presAssocID="{B83E8B23-7D19-4BF0-8556-3EABB0419D3D}" presName="parentText" presStyleLbl="node1" presStyleIdx="0" presStyleCnt="2" custLinFactNeighborX="-1546" custLinFactNeighborY="4083">
        <dgm:presLayoutVars>
          <dgm:chMax val="0"/>
          <dgm:bulletEnabled val="1"/>
        </dgm:presLayoutVars>
      </dgm:prSet>
      <dgm:spPr/>
    </dgm:pt>
    <dgm:pt modelId="{5738B68B-E43A-4FFE-99D1-EDA2C5D0428D}" type="pres">
      <dgm:prSet presAssocID="{B83E8B23-7D19-4BF0-8556-3EABB0419D3D}" presName="childText" presStyleLbl="revTx" presStyleIdx="0" presStyleCnt="2">
        <dgm:presLayoutVars>
          <dgm:bulletEnabled val="1"/>
        </dgm:presLayoutVars>
      </dgm:prSet>
      <dgm:spPr/>
    </dgm:pt>
    <dgm:pt modelId="{3D4C3996-B8FC-4C86-AACC-667F2B5F3AA4}" type="pres">
      <dgm:prSet presAssocID="{6BA2F2A8-31BA-430C-9094-4EE854C050C6}" presName="parentText" presStyleLbl="node1" presStyleIdx="1" presStyleCnt="2">
        <dgm:presLayoutVars>
          <dgm:chMax val="0"/>
          <dgm:bulletEnabled val="1"/>
        </dgm:presLayoutVars>
      </dgm:prSet>
      <dgm:spPr/>
    </dgm:pt>
    <dgm:pt modelId="{43217126-2D5E-40BA-9808-29E67E10D41A}" type="pres">
      <dgm:prSet presAssocID="{6BA2F2A8-31BA-430C-9094-4EE854C050C6}" presName="childText" presStyleLbl="revTx" presStyleIdx="1" presStyleCnt="2">
        <dgm:presLayoutVars>
          <dgm:bulletEnabled val="1"/>
        </dgm:presLayoutVars>
      </dgm:prSet>
      <dgm:spPr/>
    </dgm:pt>
  </dgm:ptLst>
  <dgm:cxnLst>
    <dgm:cxn modelId="{F2342A10-5A9D-4186-A864-DEAF4C8F5E6C}" srcId="{B83E8B23-7D19-4BF0-8556-3EABB0419D3D}" destId="{C048D373-E8D6-4C39-8C78-33BE42DCB4AB}" srcOrd="0" destOrd="0" parTransId="{90DE8F0E-41D5-480C-8779-7E47590E5B49}" sibTransId="{0380DDF6-9434-4CC2-9C6B-C5AA35F69452}"/>
    <dgm:cxn modelId="{51BD2473-2EAF-4E4F-B412-036CEFBDA27E}" srcId="{89BC3D35-8523-4F88-8FA9-01BA7D97EA0B}" destId="{6BA2F2A8-31BA-430C-9094-4EE854C050C6}" srcOrd="1" destOrd="0" parTransId="{FE6EB9C7-27EE-4239-8A98-2B63AECFE3C8}" sibTransId="{79A3563C-253F-4ED2-A454-A18596B74579}"/>
    <dgm:cxn modelId="{004F1984-6952-400D-8628-296B07EEF02F}" srcId="{6BA2F2A8-31BA-430C-9094-4EE854C050C6}" destId="{12DFEC58-2792-4DD1-AEF1-B618D5669A03}" srcOrd="0" destOrd="0" parTransId="{2657EE6E-260F-4F94-B1E1-923B531B85A2}" sibTransId="{EC9FD561-B4ED-469B-B231-5DEE95DB706D}"/>
    <dgm:cxn modelId="{864C6C8E-4AE5-4C9F-94C8-75EC942342B6}" type="presOf" srcId="{89BC3D35-8523-4F88-8FA9-01BA7D97EA0B}" destId="{D353F509-AE39-4580-A294-D13046B485C8}" srcOrd="0" destOrd="0" presId="urn:microsoft.com/office/officeart/2005/8/layout/vList2"/>
    <dgm:cxn modelId="{1BC6979D-E53E-4C81-83BE-440FF14A4E9B}" srcId="{89BC3D35-8523-4F88-8FA9-01BA7D97EA0B}" destId="{B83E8B23-7D19-4BF0-8556-3EABB0419D3D}" srcOrd="0" destOrd="0" parTransId="{6C0259A3-145B-4D0F-99EB-AEA43B2F8DD2}" sibTransId="{BEBC089D-7DB0-421B-AF9A-F89185C1C4C1}"/>
    <dgm:cxn modelId="{54A48BD3-DAB9-4DC0-926F-56C473274F8F}" type="presOf" srcId="{12DFEC58-2792-4DD1-AEF1-B618D5669A03}" destId="{43217126-2D5E-40BA-9808-29E67E10D41A}" srcOrd="0" destOrd="0" presId="urn:microsoft.com/office/officeart/2005/8/layout/vList2"/>
    <dgm:cxn modelId="{840C27E1-6AF8-4EC4-93D5-50234C9E3919}" type="presOf" srcId="{B83E8B23-7D19-4BF0-8556-3EABB0419D3D}" destId="{A80BA0E1-AD3F-495B-ABC5-8DA062E4BF31}" srcOrd="0" destOrd="0" presId="urn:microsoft.com/office/officeart/2005/8/layout/vList2"/>
    <dgm:cxn modelId="{288DDDE3-3137-430F-94F9-0AF2F345D06D}" type="presOf" srcId="{C048D373-E8D6-4C39-8C78-33BE42DCB4AB}" destId="{5738B68B-E43A-4FFE-99D1-EDA2C5D0428D}" srcOrd="0" destOrd="0" presId="urn:microsoft.com/office/officeart/2005/8/layout/vList2"/>
    <dgm:cxn modelId="{951094FF-C7EA-494F-9EE9-49BE38F0781B}" type="presOf" srcId="{6BA2F2A8-31BA-430C-9094-4EE854C050C6}" destId="{3D4C3996-B8FC-4C86-AACC-667F2B5F3AA4}" srcOrd="0" destOrd="0" presId="urn:microsoft.com/office/officeart/2005/8/layout/vList2"/>
    <dgm:cxn modelId="{AC5753A2-72BE-42B0-898B-52657F32D9F3}" type="presParOf" srcId="{D353F509-AE39-4580-A294-D13046B485C8}" destId="{A80BA0E1-AD3F-495B-ABC5-8DA062E4BF31}" srcOrd="0" destOrd="0" presId="urn:microsoft.com/office/officeart/2005/8/layout/vList2"/>
    <dgm:cxn modelId="{EA29C068-B2CE-4FDB-AAA0-9898B3C18E82}" type="presParOf" srcId="{D353F509-AE39-4580-A294-D13046B485C8}" destId="{5738B68B-E43A-4FFE-99D1-EDA2C5D0428D}" srcOrd="1" destOrd="0" presId="urn:microsoft.com/office/officeart/2005/8/layout/vList2"/>
    <dgm:cxn modelId="{4059F080-44E2-439F-9057-BF10A9733891}" type="presParOf" srcId="{D353F509-AE39-4580-A294-D13046B485C8}" destId="{3D4C3996-B8FC-4C86-AACC-667F2B5F3AA4}" srcOrd="2" destOrd="0" presId="urn:microsoft.com/office/officeart/2005/8/layout/vList2"/>
    <dgm:cxn modelId="{40934CEE-5512-414F-A0B0-060C0AA5061A}" type="presParOf" srcId="{D353F509-AE39-4580-A294-D13046B485C8}" destId="{43217126-2D5E-40BA-9808-29E67E10D41A}"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962BAE5-F7FD-4A6D-A8A4-4A4087ACF6F1}" type="doc">
      <dgm:prSet loTypeId="urn:microsoft.com/office/officeart/2018/2/layout/IconVerticalSolidList" loCatId="icon" qsTypeId="urn:microsoft.com/office/officeart/2005/8/quickstyle/simple1" qsCatId="simple" csTypeId="urn:microsoft.com/office/officeart/2005/8/colors/accent5_2" csCatId="accent5" phldr="1"/>
      <dgm:spPr/>
      <dgm:t>
        <a:bodyPr/>
        <a:lstStyle/>
        <a:p>
          <a:endParaRPr lang="en-IN"/>
        </a:p>
      </dgm:t>
    </dgm:pt>
    <dgm:pt modelId="{2CC7DD0E-BE11-49F0-8FF3-53D2D9C3F554}">
      <dgm:prSet phldrT="[Text]" custT="1"/>
      <dgm:spPr/>
      <dgm:t>
        <a:bodyPr/>
        <a:lstStyle/>
        <a:p>
          <a:pPr>
            <a:lnSpc>
              <a:spcPct val="100000"/>
            </a:lnSpc>
          </a:pPr>
          <a:r>
            <a:rPr lang="en-IN" sz="1800" b="1"/>
            <a:t>Dictionary based NER</a:t>
          </a:r>
          <a:endParaRPr lang="en-IN" sz="1800" b="1" dirty="0"/>
        </a:p>
      </dgm:t>
    </dgm:pt>
    <dgm:pt modelId="{819C6FF3-27C6-4041-9EEF-4BCF274B09A0}" type="parTrans" cxnId="{F57E896F-81FA-4020-A45F-EE3BE6BFEA45}">
      <dgm:prSet/>
      <dgm:spPr/>
      <dgm:t>
        <a:bodyPr/>
        <a:lstStyle/>
        <a:p>
          <a:endParaRPr lang="en-IN" sz="1800"/>
        </a:p>
      </dgm:t>
    </dgm:pt>
    <dgm:pt modelId="{A980B820-1E95-4DFD-9AAA-7B0D65A7232C}" type="sibTrans" cxnId="{F57E896F-81FA-4020-A45F-EE3BE6BFEA45}">
      <dgm:prSet/>
      <dgm:spPr/>
      <dgm:t>
        <a:bodyPr/>
        <a:lstStyle/>
        <a:p>
          <a:endParaRPr lang="en-IN" sz="1800"/>
        </a:p>
      </dgm:t>
    </dgm:pt>
    <dgm:pt modelId="{0FA575E4-D649-4F93-B371-0DAE85919E1F}">
      <dgm:prSet phldrT="[Text]" custT="1"/>
      <dgm:spPr/>
      <dgm:t>
        <a:bodyPr/>
        <a:lstStyle/>
        <a:p>
          <a:pPr>
            <a:lnSpc>
              <a:spcPct val="100000"/>
            </a:lnSpc>
          </a:pPr>
          <a:r>
            <a:rPr lang="en-IN" sz="1800" b="1"/>
            <a:t>Maintains and updates a dictionary</a:t>
          </a:r>
          <a:endParaRPr lang="en-IN" sz="1800" b="1" dirty="0"/>
        </a:p>
      </dgm:t>
    </dgm:pt>
    <dgm:pt modelId="{3A2D60B5-C03E-431F-AAD5-25A14C042727}" type="parTrans" cxnId="{EA21334E-BFF3-4621-A52D-FCFB6CBCA041}">
      <dgm:prSet/>
      <dgm:spPr/>
      <dgm:t>
        <a:bodyPr/>
        <a:lstStyle/>
        <a:p>
          <a:endParaRPr lang="en-IN" sz="1800"/>
        </a:p>
      </dgm:t>
    </dgm:pt>
    <dgm:pt modelId="{4F8FFCE4-3A73-41B3-B65C-B364C61344D4}" type="sibTrans" cxnId="{EA21334E-BFF3-4621-A52D-FCFB6CBCA041}">
      <dgm:prSet/>
      <dgm:spPr/>
      <dgm:t>
        <a:bodyPr/>
        <a:lstStyle/>
        <a:p>
          <a:endParaRPr lang="en-IN" sz="1800"/>
        </a:p>
      </dgm:t>
    </dgm:pt>
    <dgm:pt modelId="{87865F28-8391-46C6-8DF1-EC1571E6D2F1}">
      <dgm:prSet phldrT="[Text]" custT="1"/>
      <dgm:spPr/>
      <dgm:t>
        <a:bodyPr/>
        <a:lstStyle/>
        <a:p>
          <a:pPr>
            <a:lnSpc>
              <a:spcPct val="100000"/>
            </a:lnSpc>
          </a:pPr>
          <a:r>
            <a:rPr lang="en-IN" sz="1800" b="1"/>
            <a:t>Rule based NER </a:t>
          </a:r>
          <a:endParaRPr lang="en-IN" sz="1800" b="1" dirty="0"/>
        </a:p>
      </dgm:t>
    </dgm:pt>
    <dgm:pt modelId="{85C1235B-3206-4906-A52F-2D2BD1B5E444}" type="parTrans" cxnId="{CE39EA7C-A87F-4218-8B0E-564EAAF11652}">
      <dgm:prSet/>
      <dgm:spPr/>
      <dgm:t>
        <a:bodyPr/>
        <a:lstStyle/>
        <a:p>
          <a:endParaRPr lang="en-IN" sz="1800"/>
        </a:p>
      </dgm:t>
    </dgm:pt>
    <dgm:pt modelId="{A81E03DE-B4AE-4323-AB1E-E6212873D846}" type="sibTrans" cxnId="{CE39EA7C-A87F-4218-8B0E-564EAAF11652}">
      <dgm:prSet/>
      <dgm:spPr/>
      <dgm:t>
        <a:bodyPr/>
        <a:lstStyle/>
        <a:p>
          <a:endParaRPr lang="en-IN" sz="1800"/>
        </a:p>
      </dgm:t>
    </dgm:pt>
    <dgm:pt modelId="{3FF99BBF-E828-4116-8300-7EA4909C6B5B}">
      <dgm:prSet phldrT="[Text]" custT="1"/>
      <dgm:spPr/>
      <dgm:t>
        <a:bodyPr/>
        <a:lstStyle/>
        <a:p>
          <a:pPr>
            <a:lnSpc>
              <a:spcPct val="100000"/>
            </a:lnSpc>
          </a:pPr>
          <a:r>
            <a:rPr lang="en-US" sz="1800" b="1" i="0"/>
            <a:t>Morphological rules are used to extract the entities.</a:t>
          </a:r>
          <a:endParaRPr lang="en-IN" sz="1800" b="1" dirty="0"/>
        </a:p>
      </dgm:t>
    </dgm:pt>
    <dgm:pt modelId="{C9C9C4D9-D1C5-4028-8259-6D360F744C9B}" type="parTrans" cxnId="{A42A00B3-1224-4E76-8DF3-6DAD37756748}">
      <dgm:prSet/>
      <dgm:spPr/>
      <dgm:t>
        <a:bodyPr/>
        <a:lstStyle/>
        <a:p>
          <a:endParaRPr lang="en-IN" sz="1800"/>
        </a:p>
      </dgm:t>
    </dgm:pt>
    <dgm:pt modelId="{1B03B79D-A050-4BA7-9FB4-F910505B8C88}" type="sibTrans" cxnId="{A42A00B3-1224-4E76-8DF3-6DAD37756748}">
      <dgm:prSet/>
      <dgm:spPr/>
      <dgm:t>
        <a:bodyPr/>
        <a:lstStyle/>
        <a:p>
          <a:endParaRPr lang="en-IN" sz="1800"/>
        </a:p>
      </dgm:t>
    </dgm:pt>
    <dgm:pt modelId="{7542E7AF-B3A1-4AED-B176-E0A8465BF65A}">
      <dgm:prSet phldrT="[Text]" custT="1"/>
      <dgm:spPr/>
      <dgm:t>
        <a:bodyPr/>
        <a:lstStyle/>
        <a:p>
          <a:pPr>
            <a:lnSpc>
              <a:spcPct val="100000"/>
            </a:lnSpc>
          </a:pPr>
          <a:r>
            <a:rPr lang="en-IN" sz="1800" b="1"/>
            <a:t>Machine Learning/Deep Learning Based NER</a:t>
          </a:r>
          <a:endParaRPr lang="en-IN" sz="1800" b="1" dirty="0"/>
        </a:p>
      </dgm:t>
    </dgm:pt>
    <dgm:pt modelId="{EC34187A-7F0F-41D7-A446-36F30D268E59}" type="parTrans" cxnId="{BF03A102-09C1-4BBF-A33D-7CED63A4F99F}">
      <dgm:prSet/>
      <dgm:spPr/>
      <dgm:t>
        <a:bodyPr/>
        <a:lstStyle/>
        <a:p>
          <a:endParaRPr lang="en-IN" sz="1800"/>
        </a:p>
      </dgm:t>
    </dgm:pt>
    <dgm:pt modelId="{5F8E9B5C-2E5F-4E67-818D-79CBA451EECF}" type="sibTrans" cxnId="{BF03A102-09C1-4BBF-A33D-7CED63A4F99F}">
      <dgm:prSet/>
      <dgm:spPr/>
      <dgm:t>
        <a:bodyPr/>
        <a:lstStyle/>
        <a:p>
          <a:endParaRPr lang="en-IN" sz="1800"/>
        </a:p>
      </dgm:t>
    </dgm:pt>
    <dgm:pt modelId="{8648D28D-830A-4212-8534-240478AD1920}">
      <dgm:prSet phldrT="[Text]" custT="1"/>
      <dgm:spPr/>
      <dgm:t>
        <a:bodyPr/>
        <a:lstStyle/>
        <a:p>
          <a:pPr>
            <a:lnSpc>
              <a:spcPct val="100000"/>
            </a:lnSpc>
          </a:pPr>
          <a:r>
            <a:rPr lang="en-IN" sz="1800" b="1"/>
            <a:t>ML/DL model trained to classify the entity tokens.</a:t>
          </a:r>
          <a:endParaRPr lang="en-IN" sz="1800" b="1" dirty="0"/>
        </a:p>
      </dgm:t>
    </dgm:pt>
    <dgm:pt modelId="{67AB2D58-2A3A-4A5A-8477-AED38BD91833}" type="parTrans" cxnId="{1DD86989-8A6A-4463-8941-3A7F2D06C3BB}">
      <dgm:prSet/>
      <dgm:spPr/>
      <dgm:t>
        <a:bodyPr/>
        <a:lstStyle/>
        <a:p>
          <a:endParaRPr lang="en-IN" sz="1800"/>
        </a:p>
      </dgm:t>
    </dgm:pt>
    <dgm:pt modelId="{7E3DD049-362B-4B7F-AE00-E391285C5F5B}" type="sibTrans" cxnId="{1DD86989-8A6A-4463-8941-3A7F2D06C3BB}">
      <dgm:prSet/>
      <dgm:spPr/>
      <dgm:t>
        <a:bodyPr/>
        <a:lstStyle/>
        <a:p>
          <a:endParaRPr lang="en-IN" sz="1800"/>
        </a:p>
      </dgm:t>
    </dgm:pt>
    <dgm:pt modelId="{CCEF48C4-6A74-4443-B18F-DDA3AE9699D0}">
      <dgm:prSet phldrT="[Text]" custT="1"/>
      <dgm:spPr/>
      <dgm:t>
        <a:bodyPr/>
        <a:lstStyle/>
        <a:p>
          <a:pPr>
            <a:lnSpc>
              <a:spcPct val="100000"/>
            </a:lnSpc>
          </a:pPr>
          <a:r>
            <a:rPr lang="en-IN" sz="1800" b="1"/>
            <a:t>Training data should be annotated with entities.</a:t>
          </a:r>
          <a:endParaRPr lang="en-IN" sz="1800" b="1" dirty="0"/>
        </a:p>
      </dgm:t>
    </dgm:pt>
    <dgm:pt modelId="{5A59CB3D-8C47-4E14-ADD2-FDBD84EEBBDA}" type="parTrans" cxnId="{B251649B-619E-48CC-9025-6FE40C720C1B}">
      <dgm:prSet/>
      <dgm:spPr/>
      <dgm:t>
        <a:bodyPr/>
        <a:lstStyle/>
        <a:p>
          <a:endParaRPr lang="en-IN" sz="1800"/>
        </a:p>
      </dgm:t>
    </dgm:pt>
    <dgm:pt modelId="{A99F77ED-DEED-4CE1-9AA2-2EAA3FB873AA}" type="sibTrans" cxnId="{B251649B-619E-48CC-9025-6FE40C720C1B}">
      <dgm:prSet/>
      <dgm:spPr/>
      <dgm:t>
        <a:bodyPr/>
        <a:lstStyle/>
        <a:p>
          <a:endParaRPr lang="en-IN" sz="1800"/>
        </a:p>
      </dgm:t>
    </dgm:pt>
    <dgm:pt modelId="{82E07B59-64F8-46E9-9929-869B0B0F6997}">
      <dgm:prSet phldrT="[Text]" custT="1"/>
      <dgm:spPr/>
      <dgm:t>
        <a:bodyPr/>
        <a:lstStyle/>
        <a:p>
          <a:pPr>
            <a:lnSpc>
              <a:spcPct val="100000"/>
            </a:lnSpc>
          </a:pPr>
          <a:r>
            <a:rPr lang="en-IN" sz="1800" b="1" i="0"/>
            <a:t>string matching algorithms are used to detect entities</a:t>
          </a:r>
          <a:endParaRPr lang="en-IN" sz="1800" b="1" dirty="0"/>
        </a:p>
      </dgm:t>
    </dgm:pt>
    <dgm:pt modelId="{7756C5CD-5A0F-4216-B0FE-C945BD6881EB}" type="parTrans" cxnId="{B5CE0118-7BE0-4A9C-9D68-BDA16AF318EB}">
      <dgm:prSet/>
      <dgm:spPr/>
      <dgm:t>
        <a:bodyPr/>
        <a:lstStyle/>
        <a:p>
          <a:endParaRPr lang="en-IN" sz="1800"/>
        </a:p>
      </dgm:t>
    </dgm:pt>
    <dgm:pt modelId="{14A55755-B156-48D0-85F5-9D0CA86975B6}" type="sibTrans" cxnId="{B5CE0118-7BE0-4A9C-9D68-BDA16AF318EB}">
      <dgm:prSet/>
      <dgm:spPr/>
      <dgm:t>
        <a:bodyPr/>
        <a:lstStyle/>
        <a:p>
          <a:endParaRPr lang="en-IN" sz="1800"/>
        </a:p>
      </dgm:t>
    </dgm:pt>
    <dgm:pt modelId="{03EFDFE2-9902-4EE1-AB83-2DE57037C46A}" type="pres">
      <dgm:prSet presAssocID="{C962BAE5-F7FD-4A6D-A8A4-4A4087ACF6F1}" presName="root" presStyleCnt="0">
        <dgm:presLayoutVars>
          <dgm:dir/>
          <dgm:resizeHandles val="exact"/>
        </dgm:presLayoutVars>
      </dgm:prSet>
      <dgm:spPr/>
    </dgm:pt>
    <dgm:pt modelId="{6F822991-7208-4C38-BF58-901BACE5EF24}" type="pres">
      <dgm:prSet presAssocID="{2CC7DD0E-BE11-49F0-8FF3-53D2D9C3F554}" presName="compNode" presStyleCnt="0"/>
      <dgm:spPr/>
    </dgm:pt>
    <dgm:pt modelId="{FE3FB346-DA2B-48CE-966B-9DFCD8A4D313}" type="pres">
      <dgm:prSet presAssocID="{2CC7DD0E-BE11-49F0-8FF3-53D2D9C3F554}" presName="bgRect" presStyleLbl="bgShp" presStyleIdx="0" presStyleCnt="3"/>
      <dgm:spPr/>
    </dgm:pt>
    <dgm:pt modelId="{662E97C9-F168-4A66-A1B3-0F6FD9435932}" type="pres">
      <dgm:prSet presAssocID="{2CC7DD0E-BE11-49F0-8FF3-53D2D9C3F55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tabase"/>
        </a:ext>
      </dgm:extLst>
    </dgm:pt>
    <dgm:pt modelId="{DE24300C-4FA9-4B8C-93D0-2D705F7ED5D3}" type="pres">
      <dgm:prSet presAssocID="{2CC7DD0E-BE11-49F0-8FF3-53D2D9C3F554}" presName="spaceRect" presStyleCnt="0"/>
      <dgm:spPr/>
    </dgm:pt>
    <dgm:pt modelId="{871BEFA2-BBB2-4E81-AF35-A16BAE171445}" type="pres">
      <dgm:prSet presAssocID="{2CC7DD0E-BE11-49F0-8FF3-53D2D9C3F554}" presName="parTx" presStyleLbl="revTx" presStyleIdx="0" presStyleCnt="6">
        <dgm:presLayoutVars>
          <dgm:chMax val="0"/>
          <dgm:chPref val="0"/>
        </dgm:presLayoutVars>
      </dgm:prSet>
      <dgm:spPr/>
    </dgm:pt>
    <dgm:pt modelId="{90B660AC-CA65-4398-9C68-075132E1CEBD}" type="pres">
      <dgm:prSet presAssocID="{2CC7DD0E-BE11-49F0-8FF3-53D2D9C3F554}" presName="desTx" presStyleLbl="revTx" presStyleIdx="1" presStyleCnt="6" custScaleX="135614">
        <dgm:presLayoutVars/>
      </dgm:prSet>
      <dgm:spPr/>
    </dgm:pt>
    <dgm:pt modelId="{7D1A3900-3561-4B7C-916B-518174801854}" type="pres">
      <dgm:prSet presAssocID="{A980B820-1E95-4DFD-9AAA-7B0D65A7232C}" presName="sibTrans" presStyleCnt="0"/>
      <dgm:spPr/>
    </dgm:pt>
    <dgm:pt modelId="{47DBC18F-3A2C-4449-9D89-7A1AA89A1254}" type="pres">
      <dgm:prSet presAssocID="{87865F28-8391-46C6-8DF1-EC1571E6D2F1}" presName="compNode" presStyleCnt="0"/>
      <dgm:spPr/>
    </dgm:pt>
    <dgm:pt modelId="{92690F0C-B4B5-4F7C-8172-39DB8C0F776C}" type="pres">
      <dgm:prSet presAssocID="{87865F28-8391-46C6-8DF1-EC1571E6D2F1}" presName="bgRect" presStyleLbl="bgShp" presStyleIdx="1" presStyleCnt="3"/>
      <dgm:spPr/>
    </dgm:pt>
    <dgm:pt modelId="{01733C54-DB71-40C0-9BEE-6893207A10D3}" type="pres">
      <dgm:prSet presAssocID="{87865F28-8391-46C6-8DF1-EC1571E6D2F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cument"/>
        </a:ext>
      </dgm:extLst>
    </dgm:pt>
    <dgm:pt modelId="{4A2F650E-FB9F-4421-BB2C-E40C7454ABA8}" type="pres">
      <dgm:prSet presAssocID="{87865F28-8391-46C6-8DF1-EC1571E6D2F1}" presName="spaceRect" presStyleCnt="0"/>
      <dgm:spPr/>
    </dgm:pt>
    <dgm:pt modelId="{BD50A0DF-7D0B-4F47-ACE9-58836197FC3B}" type="pres">
      <dgm:prSet presAssocID="{87865F28-8391-46C6-8DF1-EC1571E6D2F1}" presName="parTx" presStyleLbl="revTx" presStyleIdx="2" presStyleCnt="6">
        <dgm:presLayoutVars>
          <dgm:chMax val="0"/>
          <dgm:chPref val="0"/>
        </dgm:presLayoutVars>
      </dgm:prSet>
      <dgm:spPr/>
    </dgm:pt>
    <dgm:pt modelId="{9F860C2A-F00B-48F9-A9C9-40C66F4DAF60}" type="pres">
      <dgm:prSet presAssocID="{87865F28-8391-46C6-8DF1-EC1571E6D2F1}" presName="desTx" presStyleLbl="revTx" presStyleIdx="3" presStyleCnt="6" custScaleX="148460">
        <dgm:presLayoutVars/>
      </dgm:prSet>
      <dgm:spPr/>
    </dgm:pt>
    <dgm:pt modelId="{C16B1E58-AF21-49BB-902A-F8FCD29C8F81}" type="pres">
      <dgm:prSet presAssocID="{A81E03DE-B4AE-4323-AB1E-E6212873D846}" presName="sibTrans" presStyleCnt="0"/>
      <dgm:spPr/>
    </dgm:pt>
    <dgm:pt modelId="{36755D21-FCD6-498B-A948-56543F837990}" type="pres">
      <dgm:prSet presAssocID="{7542E7AF-B3A1-4AED-B176-E0A8465BF65A}" presName="compNode" presStyleCnt="0"/>
      <dgm:spPr/>
    </dgm:pt>
    <dgm:pt modelId="{2408F5F6-DCFA-4953-AE35-C89D8ADD9634}" type="pres">
      <dgm:prSet presAssocID="{7542E7AF-B3A1-4AED-B176-E0A8465BF65A}" presName="bgRect" presStyleLbl="bgShp" presStyleIdx="2" presStyleCnt="3" custFlipVert="1" custScaleY="120431"/>
      <dgm:spPr/>
    </dgm:pt>
    <dgm:pt modelId="{98BE3E29-8116-4AB0-9787-FB75C7AA7D28}" type="pres">
      <dgm:prSet presAssocID="{7542E7AF-B3A1-4AED-B176-E0A8465BF65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Robot"/>
        </a:ext>
      </dgm:extLst>
    </dgm:pt>
    <dgm:pt modelId="{58E3E851-8F03-4A04-AD7A-F8E037DB4664}" type="pres">
      <dgm:prSet presAssocID="{7542E7AF-B3A1-4AED-B176-E0A8465BF65A}" presName="spaceRect" presStyleCnt="0"/>
      <dgm:spPr/>
    </dgm:pt>
    <dgm:pt modelId="{167F7342-D45B-4123-8742-2F21F984FBED}" type="pres">
      <dgm:prSet presAssocID="{7542E7AF-B3A1-4AED-B176-E0A8465BF65A}" presName="parTx" presStyleLbl="revTx" presStyleIdx="4" presStyleCnt="6">
        <dgm:presLayoutVars>
          <dgm:chMax val="0"/>
          <dgm:chPref val="0"/>
        </dgm:presLayoutVars>
      </dgm:prSet>
      <dgm:spPr/>
    </dgm:pt>
    <dgm:pt modelId="{0692B704-FD52-4C1A-A5E6-F752A21FDCFB}" type="pres">
      <dgm:prSet presAssocID="{7542E7AF-B3A1-4AED-B176-E0A8465BF65A}" presName="desTx" presStyleLbl="revTx" presStyleIdx="5" presStyleCnt="6" custScaleX="122941">
        <dgm:presLayoutVars/>
      </dgm:prSet>
      <dgm:spPr/>
    </dgm:pt>
  </dgm:ptLst>
  <dgm:cxnLst>
    <dgm:cxn modelId="{BF03A102-09C1-4BBF-A33D-7CED63A4F99F}" srcId="{C962BAE5-F7FD-4A6D-A8A4-4A4087ACF6F1}" destId="{7542E7AF-B3A1-4AED-B176-E0A8465BF65A}" srcOrd="2" destOrd="0" parTransId="{EC34187A-7F0F-41D7-A446-36F30D268E59}" sibTransId="{5F8E9B5C-2E5F-4E67-818D-79CBA451EECF}"/>
    <dgm:cxn modelId="{4514EA04-F126-4DD9-B16A-C3563BD099A8}" type="presOf" srcId="{3FF99BBF-E828-4116-8300-7EA4909C6B5B}" destId="{9F860C2A-F00B-48F9-A9C9-40C66F4DAF60}" srcOrd="0" destOrd="0" presId="urn:microsoft.com/office/officeart/2018/2/layout/IconVerticalSolidList"/>
    <dgm:cxn modelId="{B5CE0118-7BE0-4A9C-9D68-BDA16AF318EB}" srcId="{2CC7DD0E-BE11-49F0-8FF3-53D2D9C3F554}" destId="{82E07B59-64F8-46E9-9929-869B0B0F6997}" srcOrd="1" destOrd="0" parTransId="{7756C5CD-5A0F-4216-B0FE-C945BD6881EB}" sibTransId="{14A55755-B156-48D0-85F5-9D0CA86975B6}"/>
    <dgm:cxn modelId="{6722FD18-ADFD-4F92-B7AE-996AD3217FAC}" type="presOf" srcId="{8648D28D-830A-4212-8534-240478AD1920}" destId="{0692B704-FD52-4C1A-A5E6-F752A21FDCFB}" srcOrd="0" destOrd="0" presId="urn:microsoft.com/office/officeart/2018/2/layout/IconVerticalSolidList"/>
    <dgm:cxn modelId="{5804DB5D-01BD-4E9B-B712-3551B8359034}" type="presOf" srcId="{0FA575E4-D649-4F93-B371-0DAE85919E1F}" destId="{90B660AC-CA65-4398-9C68-075132E1CEBD}" srcOrd="0" destOrd="0" presId="urn:microsoft.com/office/officeart/2018/2/layout/IconVerticalSolidList"/>
    <dgm:cxn modelId="{3DEEA363-7F80-417D-8021-6F077F93DAC8}" type="presOf" srcId="{82E07B59-64F8-46E9-9929-869B0B0F6997}" destId="{90B660AC-CA65-4398-9C68-075132E1CEBD}" srcOrd="0" destOrd="1" presId="urn:microsoft.com/office/officeart/2018/2/layout/IconVerticalSolidList"/>
    <dgm:cxn modelId="{EA21334E-BFF3-4621-A52D-FCFB6CBCA041}" srcId="{2CC7DD0E-BE11-49F0-8FF3-53D2D9C3F554}" destId="{0FA575E4-D649-4F93-B371-0DAE85919E1F}" srcOrd="0" destOrd="0" parTransId="{3A2D60B5-C03E-431F-AAD5-25A14C042727}" sibTransId="{4F8FFCE4-3A73-41B3-B65C-B364C61344D4}"/>
    <dgm:cxn modelId="{F57E896F-81FA-4020-A45F-EE3BE6BFEA45}" srcId="{C962BAE5-F7FD-4A6D-A8A4-4A4087ACF6F1}" destId="{2CC7DD0E-BE11-49F0-8FF3-53D2D9C3F554}" srcOrd="0" destOrd="0" parTransId="{819C6FF3-27C6-4041-9EEF-4BCF274B09A0}" sibTransId="{A980B820-1E95-4DFD-9AAA-7B0D65A7232C}"/>
    <dgm:cxn modelId="{CE39EA7C-A87F-4218-8B0E-564EAAF11652}" srcId="{C962BAE5-F7FD-4A6D-A8A4-4A4087ACF6F1}" destId="{87865F28-8391-46C6-8DF1-EC1571E6D2F1}" srcOrd="1" destOrd="0" parTransId="{85C1235B-3206-4906-A52F-2D2BD1B5E444}" sibTransId="{A81E03DE-B4AE-4323-AB1E-E6212873D846}"/>
    <dgm:cxn modelId="{1DD86989-8A6A-4463-8941-3A7F2D06C3BB}" srcId="{7542E7AF-B3A1-4AED-B176-E0A8465BF65A}" destId="{8648D28D-830A-4212-8534-240478AD1920}" srcOrd="0" destOrd="0" parTransId="{67AB2D58-2A3A-4A5A-8477-AED38BD91833}" sibTransId="{7E3DD049-362B-4B7F-AE00-E391285C5F5B}"/>
    <dgm:cxn modelId="{CE62009B-8B8E-4664-AA83-E0922E5CDAFF}" type="presOf" srcId="{2CC7DD0E-BE11-49F0-8FF3-53D2D9C3F554}" destId="{871BEFA2-BBB2-4E81-AF35-A16BAE171445}" srcOrd="0" destOrd="0" presId="urn:microsoft.com/office/officeart/2018/2/layout/IconVerticalSolidList"/>
    <dgm:cxn modelId="{B251649B-619E-48CC-9025-6FE40C720C1B}" srcId="{7542E7AF-B3A1-4AED-B176-E0A8465BF65A}" destId="{CCEF48C4-6A74-4443-B18F-DDA3AE9699D0}" srcOrd="1" destOrd="0" parTransId="{5A59CB3D-8C47-4E14-ADD2-FDBD84EEBBDA}" sibTransId="{A99F77ED-DEED-4CE1-9AA2-2EAA3FB873AA}"/>
    <dgm:cxn modelId="{80AA27B0-0F54-4BCD-863D-19ACAA367F80}" type="presOf" srcId="{7542E7AF-B3A1-4AED-B176-E0A8465BF65A}" destId="{167F7342-D45B-4123-8742-2F21F984FBED}" srcOrd="0" destOrd="0" presId="urn:microsoft.com/office/officeart/2018/2/layout/IconVerticalSolidList"/>
    <dgm:cxn modelId="{A42A00B3-1224-4E76-8DF3-6DAD37756748}" srcId="{87865F28-8391-46C6-8DF1-EC1571E6D2F1}" destId="{3FF99BBF-E828-4116-8300-7EA4909C6B5B}" srcOrd="0" destOrd="0" parTransId="{C9C9C4D9-D1C5-4028-8259-6D360F744C9B}" sibTransId="{1B03B79D-A050-4BA7-9FB4-F910505B8C88}"/>
    <dgm:cxn modelId="{DCEFDED4-481A-4046-8A5D-33662F6D645E}" type="presOf" srcId="{87865F28-8391-46C6-8DF1-EC1571E6D2F1}" destId="{BD50A0DF-7D0B-4F47-ACE9-58836197FC3B}" srcOrd="0" destOrd="0" presId="urn:microsoft.com/office/officeart/2018/2/layout/IconVerticalSolidList"/>
    <dgm:cxn modelId="{008FA6E8-8683-4AB8-8845-0FB82080E051}" type="presOf" srcId="{C962BAE5-F7FD-4A6D-A8A4-4A4087ACF6F1}" destId="{03EFDFE2-9902-4EE1-AB83-2DE57037C46A}" srcOrd="0" destOrd="0" presId="urn:microsoft.com/office/officeart/2018/2/layout/IconVerticalSolidList"/>
    <dgm:cxn modelId="{41F2A6F2-FB7D-47E6-A924-0BF869CDEFD9}" type="presOf" srcId="{CCEF48C4-6A74-4443-B18F-DDA3AE9699D0}" destId="{0692B704-FD52-4C1A-A5E6-F752A21FDCFB}" srcOrd="0" destOrd="1" presId="urn:microsoft.com/office/officeart/2018/2/layout/IconVerticalSolidList"/>
    <dgm:cxn modelId="{E0FFAE46-500F-4EC7-8ED4-388485B66727}" type="presParOf" srcId="{03EFDFE2-9902-4EE1-AB83-2DE57037C46A}" destId="{6F822991-7208-4C38-BF58-901BACE5EF24}" srcOrd="0" destOrd="0" presId="urn:microsoft.com/office/officeart/2018/2/layout/IconVerticalSolidList"/>
    <dgm:cxn modelId="{F6EB4ACE-4665-49AC-B8C4-D8E741ACA004}" type="presParOf" srcId="{6F822991-7208-4C38-BF58-901BACE5EF24}" destId="{FE3FB346-DA2B-48CE-966B-9DFCD8A4D313}" srcOrd="0" destOrd="0" presId="urn:microsoft.com/office/officeart/2018/2/layout/IconVerticalSolidList"/>
    <dgm:cxn modelId="{3250B57B-4277-429A-8BC5-4F96E8ED1393}" type="presParOf" srcId="{6F822991-7208-4C38-BF58-901BACE5EF24}" destId="{662E97C9-F168-4A66-A1B3-0F6FD9435932}" srcOrd="1" destOrd="0" presId="urn:microsoft.com/office/officeart/2018/2/layout/IconVerticalSolidList"/>
    <dgm:cxn modelId="{6A78077F-2BEE-4AB2-AA02-9254F1CDAE5F}" type="presParOf" srcId="{6F822991-7208-4C38-BF58-901BACE5EF24}" destId="{DE24300C-4FA9-4B8C-93D0-2D705F7ED5D3}" srcOrd="2" destOrd="0" presId="urn:microsoft.com/office/officeart/2018/2/layout/IconVerticalSolidList"/>
    <dgm:cxn modelId="{02819FBE-BA5E-4903-9D06-35126C6DB76B}" type="presParOf" srcId="{6F822991-7208-4C38-BF58-901BACE5EF24}" destId="{871BEFA2-BBB2-4E81-AF35-A16BAE171445}" srcOrd="3" destOrd="0" presId="urn:microsoft.com/office/officeart/2018/2/layout/IconVerticalSolidList"/>
    <dgm:cxn modelId="{F62E1EA3-158A-43B0-90CD-71779872DF68}" type="presParOf" srcId="{6F822991-7208-4C38-BF58-901BACE5EF24}" destId="{90B660AC-CA65-4398-9C68-075132E1CEBD}" srcOrd="4" destOrd="0" presId="urn:microsoft.com/office/officeart/2018/2/layout/IconVerticalSolidList"/>
    <dgm:cxn modelId="{476C78D1-8F17-41F2-A230-A0B05987FAA8}" type="presParOf" srcId="{03EFDFE2-9902-4EE1-AB83-2DE57037C46A}" destId="{7D1A3900-3561-4B7C-916B-518174801854}" srcOrd="1" destOrd="0" presId="urn:microsoft.com/office/officeart/2018/2/layout/IconVerticalSolidList"/>
    <dgm:cxn modelId="{68DF4BE1-B7E1-4D36-A395-479167F91C43}" type="presParOf" srcId="{03EFDFE2-9902-4EE1-AB83-2DE57037C46A}" destId="{47DBC18F-3A2C-4449-9D89-7A1AA89A1254}" srcOrd="2" destOrd="0" presId="urn:microsoft.com/office/officeart/2018/2/layout/IconVerticalSolidList"/>
    <dgm:cxn modelId="{AC746A78-6D46-48B4-9EEA-EEF28C6FEB3A}" type="presParOf" srcId="{47DBC18F-3A2C-4449-9D89-7A1AA89A1254}" destId="{92690F0C-B4B5-4F7C-8172-39DB8C0F776C}" srcOrd="0" destOrd="0" presId="urn:microsoft.com/office/officeart/2018/2/layout/IconVerticalSolidList"/>
    <dgm:cxn modelId="{D2A7D483-AA2D-4F35-9DB1-670480BF45F1}" type="presParOf" srcId="{47DBC18F-3A2C-4449-9D89-7A1AA89A1254}" destId="{01733C54-DB71-40C0-9BEE-6893207A10D3}" srcOrd="1" destOrd="0" presId="urn:microsoft.com/office/officeart/2018/2/layout/IconVerticalSolidList"/>
    <dgm:cxn modelId="{CD5931CE-5177-4A81-8052-C77AD9B88A97}" type="presParOf" srcId="{47DBC18F-3A2C-4449-9D89-7A1AA89A1254}" destId="{4A2F650E-FB9F-4421-BB2C-E40C7454ABA8}" srcOrd="2" destOrd="0" presId="urn:microsoft.com/office/officeart/2018/2/layout/IconVerticalSolidList"/>
    <dgm:cxn modelId="{BA5FEAA7-D4F1-4F17-B5D7-9F5F296C2737}" type="presParOf" srcId="{47DBC18F-3A2C-4449-9D89-7A1AA89A1254}" destId="{BD50A0DF-7D0B-4F47-ACE9-58836197FC3B}" srcOrd="3" destOrd="0" presId="urn:microsoft.com/office/officeart/2018/2/layout/IconVerticalSolidList"/>
    <dgm:cxn modelId="{009E7822-F5C0-49C0-A024-AF7CBD264445}" type="presParOf" srcId="{47DBC18F-3A2C-4449-9D89-7A1AA89A1254}" destId="{9F860C2A-F00B-48F9-A9C9-40C66F4DAF60}" srcOrd="4" destOrd="0" presId="urn:microsoft.com/office/officeart/2018/2/layout/IconVerticalSolidList"/>
    <dgm:cxn modelId="{57BDA56D-8B54-47F9-B604-F901B00721C5}" type="presParOf" srcId="{03EFDFE2-9902-4EE1-AB83-2DE57037C46A}" destId="{C16B1E58-AF21-49BB-902A-F8FCD29C8F81}" srcOrd="3" destOrd="0" presId="urn:microsoft.com/office/officeart/2018/2/layout/IconVerticalSolidList"/>
    <dgm:cxn modelId="{E2523AC8-D286-4294-8BAC-2CA9A579B7A5}" type="presParOf" srcId="{03EFDFE2-9902-4EE1-AB83-2DE57037C46A}" destId="{36755D21-FCD6-498B-A948-56543F837990}" srcOrd="4" destOrd="0" presId="urn:microsoft.com/office/officeart/2018/2/layout/IconVerticalSolidList"/>
    <dgm:cxn modelId="{AD041A0B-897C-43E2-80D5-57DB0662E7A0}" type="presParOf" srcId="{36755D21-FCD6-498B-A948-56543F837990}" destId="{2408F5F6-DCFA-4953-AE35-C89D8ADD9634}" srcOrd="0" destOrd="0" presId="urn:microsoft.com/office/officeart/2018/2/layout/IconVerticalSolidList"/>
    <dgm:cxn modelId="{1C9D30CA-8A90-46D8-B063-AF60F646A59F}" type="presParOf" srcId="{36755D21-FCD6-498B-A948-56543F837990}" destId="{98BE3E29-8116-4AB0-9787-FB75C7AA7D28}" srcOrd="1" destOrd="0" presId="urn:microsoft.com/office/officeart/2018/2/layout/IconVerticalSolidList"/>
    <dgm:cxn modelId="{360F894F-361F-4A02-85F6-798665E3A92D}" type="presParOf" srcId="{36755D21-FCD6-498B-A948-56543F837990}" destId="{58E3E851-8F03-4A04-AD7A-F8E037DB4664}" srcOrd="2" destOrd="0" presId="urn:microsoft.com/office/officeart/2018/2/layout/IconVerticalSolidList"/>
    <dgm:cxn modelId="{D23F079C-18C8-4F3A-8818-1608E0B5B9EF}" type="presParOf" srcId="{36755D21-FCD6-498B-A948-56543F837990}" destId="{167F7342-D45B-4123-8742-2F21F984FBED}" srcOrd="3" destOrd="0" presId="urn:microsoft.com/office/officeart/2018/2/layout/IconVerticalSolidList"/>
    <dgm:cxn modelId="{470959E6-1C57-445D-A832-3CB38E0236FC}" type="presParOf" srcId="{36755D21-FCD6-498B-A948-56543F837990}" destId="{0692B704-FD52-4C1A-A5E6-F752A21FDCFB}"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0BE96F2-4962-473B-B61C-7C9EFC622CD1}"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IN"/>
        </a:p>
      </dgm:t>
    </dgm:pt>
    <dgm:pt modelId="{8C0A1652-F6B2-49CD-A40F-208791162FFD}">
      <dgm:prSet phldrT="[Text]"/>
      <dgm:spPr/>
      <dgm:t>
        <a:bodyPr/>
        <a:lstStyle/>
        <a:p>
          <a:r>
            <a:rPr lang="en-IN" b="1" i="0" dirty="0"/>
            <a:t>BIO SCHEME</a:t>
          </a:r>
          <a:endParaRPr lang="en-IN" dirty="0"/>
        </a:p>
      </dgm:t>
    </dgm:pt>
    <dgm:pt modelId="{AC31393B-1F15-43BD-A251-B97ADBE2DAC6}" type="parTrans" cxnId="{D83E9EFC-3A0F-42B9-B9F7-156F70C509B4}">
      <dgm:prSet/>
      <dgm:spPr/>
      <dgm:t>
        <a:bodyPr/>
        <a:lstStyle/>
        <a:p>
          <a:endParaRPr lang="en-IN"/>
        </a:p>
      </dgm:t>
    </dgm:pt>
    <dgm:pt modelId="{883248DB-3EEB-451A-B550-1DECB61858F6}" type="sibTrans" cxnId="{D83E9EFC-3A0F-42B9-B9F7-156F70C509B4}">
      <dgm:prSet/>
      <dgm:spPr/>
      <dgm:t>
        <a:bodyPr/>
        <a:lstStyle/>
        <a:p>
          <a:endParaRPr lang="en-IN"/>
        </a:p>
      </dgm:t>
    </dgm:pt>
    <dgm:pt modelId="{59FBD5EB-11EE-4A02-9A3B-0E0CC389E27A}">
      <dgm:prSet phldrT="[Text]" custT="1"/>
      <dgm:spPr/>
      <dgm:t>
        <a:bodyPr/>
        <a:lstStyle/>
        <a:p>
          <a:r>
            <a:rPr lang="en-IN" sz="2000" b="0" i="0" dirty="0"/>
            <a:t>I – Token is </a:t>
          </a:r>
          <a:r>
            <a:rPr lang="en-IN" sz="2000" b="1" i="0" dirty="0"/>
            <a:t>inside</a:t>
          </a:r>
          <a:r>
            <a:rPr lang="en-IN" sz="2000" b="0" i="0" dirty="0"/>
            <a:t> an entity.</a:t>
          </a:r>
          <a:endParaRPr lang="en-IN" sz="2000" dirty="0"/>
        </a:p>
      </dgm:t>
    </dgm:pt>
    <dgm:pt modelId="{769BC9AA-85DA-4BA0-A307-3762C291B66B}" type="parTrans" cxnId="{D1EDFF7C-E927-4179-B1F5-2E25D3ED90F1}">
      <dgm:prSet/>
      <dgm:spPr/>
      <dgm:t>
        <a:bodyPr/>
        <a:lstStyle/>
        <a:p>
          <a:endParaRPr lang="en-IN"/>
        </a:p>
      </dgm:t>
    </dgm:pt>
    <dgm:pt modelId="{6FA21622-BBC0-4834-AA8D-F6EFF4A8C57C}" type="sibTrans" cxnId="{D1EDFF7C-E927-4179-B1F5-2E25D3ED90F1}">
      <dgm:prSet/>
      <dgm:spPr/>
      <dgm:t>
        <a:bodyPr/>
        <a:lstStyle/>
        <a:p>
          <a:endParaRPr lang="en-IN"/>
        </a:p>
      </dgm:t>
    </dgm:pt>
    <dgm:pt modelId="{0C1E8E62-2ADF-47A2-88DD-F0B08E34B350}">
      <dgm:prSet phldrT="[Text]" custT="1"/>
      <dgm:spPr/>
      <dgm:t>
        <a:bodyPr/>
        <a:lstStyle/>
        <a:p>
          <a:r>
            <a:rPr lang="en-IN" sz="2000" dirty="0"/>
            <a:t>Uma Maheswari Tamilvendhan is from south </a:t>
          </a:r>
          <a:r>
            <a:rPr lang="en-IN" sz="2000" dirty="0" err="1"/>
            <a:t>india</a:t>
          </a:r>
          <a:r>
            <a:rPr lang="en-IN" sz="2000" dirty="0"/>
            <a:t> state </a:t>
          </a:r>
          <a:r>
            <a:rPr lang="en-IN" sz="2000" dirty="0" err="1"/>
            <a:t>Tamilnadu</a:t>
          </a:r>
          <a:endParaRPr lang="en-IN" sz="2000" dirty="0"/>
        </a:p>
      </dgm:t>
    </dgm:pt>
    <dgm:pt modelId="{E4BFAED0-351E-4759-8C68-2F0804C82719}" type="parTrans" cxnId="{DF99A654-CD6C-46F9-8559-EBDD85D0489B}">
      <dgm:prSet/>
      <dgm:spPr/>
      <dgm:t>
        <a:bodyPr/>
        <a:lstStyle/>
        <a:p>
          <a:endParaRPr lang="en-IN"/>
        </a:p>
      </dgm:t>
    </dgm:pt>
    <dgm:pt modelId="{59F6C8DE-3F62-45D9-93D5-BFBF4B9C1B2A}" type="sibTrans" cxnId="{DF99A654-CD6C-46F9-8559-EBDD85D0489B}">
      <dgm:prSet/>
      <dgm:spPr/>
      <dgm:t>
        <a:bodyPr/>
        <a:lstStyle/>
        <a:p>
          <a:endParaRPr lang="en-IN"/>
        </a:p>
      </dgm:t>
    </dgm:pt>
    <dgm:pt modelId="{06295EE8-C6CF-4949-A2E9-30A9F1655986}">
      <dgm:prSet phldrT="[Text]"/>
      <dgm:spPr/>
      <dgm:t>
        <a:bodyPr/>
        <a:lstStyle/>
        <a:p>
          <a:r>
            <a:rPr lang="en-IN" b="1" dirty="0"/>
            <a:t>BILOU </a:t>
          </a:r>
          <a:r>
            <a:rPr lang="en-IN" b="1" i="0" dirty="0"/>
            <a:t>SCHEME</a:t>
          </a:r>
          <a:endParaRPr lang="en-IN" b="1" dirty="0"/>
        </a:p>
      </dgm:t>
    </dgm:pt>
    <dgm:pt modelId="{0D972798-3B9E-43AF-BCDA-BCF3C4B57D6E}" type="parTrans" cxnId="{9A6C6AE8-3C94-4BB3-8368-8DFEE25DEB02}">
      <dgm:prSet/>
      <dgm:spPr/>
      <dgm:t>
        <a:bodyPr/>
        <a:lstStyle/>
        <a:p>
          <a:endParaRPr lang="en-IN"/>
        </a:p>
      </dgm:t>
    </dgm:pt>
    <dgm:pt modelId="{5F8A2219-AD9A-48CC-947C-489B1CC72E6D}" type="sibTrans" cxnId="{9A6C6AE8-3C94-4BB3-8368-8DFEE25DEB02}">
      <dgm:prSet/>
      <dgm:spPr/>
      <dgm:t>
        <a:bodyPr/>
        <a:lstStyle/>
        <a:p>
          <a:endParaRPr lang="en-IN"/>
        </a:p>
      </dgm:t>
    </dgm:pt>
    <dgm:pt modelId="{50D7318B-51FB-4769-9815-1D7369B9DD73}">
      <dgm:prSet phldrT="[Text]"/>
      <dgm:spPr/>
      <dgm:t>
        <a:bodyPr/>
        <a:lstStyle/>
        <a:p>
          <a:pPr>
            <a:buFont typeface="Arial" panose="020B0604020202020204" pitchFamily="34" charset="0"/>
            <a:buChar char="•"/>
          </a:pPr>
          <a:r>
            <a:rPr lang="en-US" b="0" i="0" dirty="0"/>
            <a:t>B – Token is the </a:t>
          </a:r>
          <a:r>
            <a:rPr lang="en-US" b="1" i="0" dirty="0"/>
            <a:t>beginning</a:t>
          </a:r>
          <a:r>
            <a:rPr lang="en-US" b="0" i="0" dirty="0"/>
            <a:t> of a multi-token entity.</a:t>
          </a:r>
          <a:endParaRPr lang="en-IN" dirty="0"/>
        </a:p>
      </dgm:t>
    </dgm:pt>
    <dgm:pt modelId="{8341223F-24A5-4EFD-BAD3-78DBBD735FB0}" type="parTrans" cxnId="{0BC3A8A3-2951-4003-9E25-C23AF821B9A5}">
      <dgm:prSet/>
      <dgm:spPr/>
      <dgm:t>
        <a:bodyPr/>
        <a:lstStyle/>
        <a:p>
          <a:endParaRPr lang="en-IN"/>
        </a:p>
      </dgm:t>
    </dgm:pt>
    <dgm:pt modelId="{2AF8F33D-ECCF-40D4-B408-3BC8A6DB702E}" type="sibTrans" cxnId="{0BC3A8A3-2951-4003-9E25-C23AF821B9A5}">
      <dgm:prSet/>
      <dgm:spPr/>
      <dgm:t>
        <a:bodyPr/>
        <a:lstStyle/>
        <a:p>
          <a:endParaRPr lang="en-IN"/>
        </a:p>
      </dgm:t>
    </dgm:pt>
    <dgm:pt modelId="{3D1FE309-7B7C-4465-A905-F4ABBA92DB79}">
      <dgm:prSet phldrT="[Text]"/>
      <dgm:spPr/>
      <dgm:t>
        <a:bodyPr/>
        <a:lstStyle/>
        <a:p>
          <a:r>
            <a:rPr lang="en-IN" dirty="0"/>
            <a:t>Uma Maheswari Tamilvendhan is from south India state </a:t>
          </a:r>
          <a:r>
            <a:rPr lang="en-IN" dirty="0" err="1"/>
            <a:t>Tamilnadu</a:t>
          </a:r>
          <a:endParaRPr lang="en-IN" dirty="0"/>
        </a:p>
      </dgm:t>
    </dgm:pt>
    <dgm:pt modelId="{9D95B05D-6C39-4A1C-B0FD-02C03D0E249C}" type="parTrans" cxnId="{18C73E49-98B6-4ED7-A6F6-4242F1D8E958}">
      <dgm:prSet/>
      <dgm:spPr/>
      <dgm:t>
        <a:bodyPr/>
        <a:lstStyle/>
        <a:p>
          <a:endParaRPr lang="en-IN"/>
        </a:p>
      </dgm:t>
    </dgm:pt>
    <dgm:pt modelId="{0D34693C-7707-4E78-915F-218AA185051C}" type="sibTrans" cxnId="{18C73E49-98B6-4ED7-A6F6-4242F1D8E958}">
      <dgm:prSet/>
      <dgm:spPr/>
      <dgm:t>
        <a:bodyPr/>
        <a:lstStyle/>
        <a:p>
          <a:endParaRPr lang="en-IN"/>
        </a:p>
      </dgm:t>
    </dgm:pt>
    <dgm:pt modelId="{F65DC015-2677-4286-AA67-7A12DE49FE8A}">
      <dgm:prSet phldrT="[Text]" custT="1"/>
      <dgm:spPr/>
      <dgm:t>
        <a:bodyPr/>
        <a:lstStyle/>
        <a:p>
          <a:r>
            <a:rPr lang="en-IN" sz="2000" dirty="0"/>
            <a:t>Uma- B- Person Maheswari – I-Person Tamilvendhan-I-Person</a:t>
          </a:r>
        </a:p>
      </dgm:t>
    </dgm:pt>
    <dgm:pt modelId="{0485A7E3-79C7-4FE3-A674-EE5C2C626389}" type="parTrans" cxnId="{C5865C4A-5F4A-4616-81E5-0BFEF3CE397C}">
      <dgm:prSet/>
      <dgm:spPr/>
      <dgm:t>
        <a:bodyPr/>
        <a:lstStyle/>
        <a:p>
          <a:endParaRPr lang="en-IN"/>
        </a:p>
      </dgm:t>
    </dgm:pt>
    <dgm:pt modelId="{18471381-F9FB-482C-9C3E-7B154332E224}" type="sibTrans" cxnId="{C5865C4A-5F4A-4616-81E5-0BFEF3CE397C}">
      <dgm:prSet/>
      <dgm:spPr/>
      <dgm:t>
        <a:bodyPr/>
        <a:lstStyle/>
        <a:p>
          <a:endParaRPr lang="en-IN"/>
        </a:p>
      </dgm:t>
    </dgm:pt>
    <dgm:pt modelId="{BA5D0F31-F6F2-469F-A047-17C29A3B982B}">
      <dgm:prSet phldrT="[Text]" custT="1"/>
      <dgm:spPr/>
      <dgm:t>
        <a:bodyPr/>
        <a:lstStyle/>
        <a:p>
          <a:r>
            <a:rPr lang="en-IN" sz="2000" dirty="0"/>
            <a:t>Is-O from-O</a:t>
          </a:r>
        </a:p>
      </dgm:t>
    </dgm:pt>
    <dgm:pt modelId="{4A7503B5-552F-494A-9466-50698EC6D787}" type="parTrans" cxnId="{035EBA4B-60A4-40EA-B5F1-2B81D7D5E883}">
      <dgm:prSet/>
      <dgm:spPr/>
      <dgm:t>
        <a:bodyPr/>
        <a:lstStyle/>
        <a:p>
          <a:endParaRPr lang="en-IN"/>
        </a:p>
      </dgm:t>
    </dgm:pt>
    <dgm:pt modelId="{BF2E0BCC-5524-401A-B23B-A2E65653C6D2}" type="sibTrans" cxnId="{035EBA4B-60A4-40EA-B5F1-2B81D7D5E883}">
      <dgm:prSet/>
      <dgm:spPr/>
      <dgm:t>
        <a:bodyPr/>
        <a:lstStyle/>
        <a:p>
          <a:endParaRPr lang="en-IN"/>
        </a:p>
      </dgm:t>
    </dgm:pt>
    <dgm:pt modelId="{65573D3B-3BAA-456A-AA2E-7F05D17191EE}">
      <dgm:prSet phldrT="[Text]" custT="1"/>
      <dgm:spPr/>
      <dgm:t>
        <a:bodyPr/>
        <a:lstStyle/>
        <a:p>
          <a:r>
            <a:rPr lang="en-IN" sz="2000" dirty="0"/>
            <a:t>South –B GPE India- I GPE </a:t>
          </a:r>
          <a:r>
            <a:rPr lang="en-IN" sz="2000" dirty="0" err="1"/>
            <a:t>Tamilnadu</a:t>
          </a:r>
          <a:r>
            <a:rPr lang="en-IN" sz="2000" dirty="0"/>
            <a:t>- B GPE</a:t>
          </a:r>
        </a:p>
      </dgm:t>
    </dgm:pt>
    <dgm:pt modelId="{A6E90991-2F7D-4A24-9016-103D970B5B44}" type="parTrans" cxnId="{40B00AE0-A7BD-4B92-A05A-0C5585AA4356}">
      <dgm:prSet/>
      <dgm:spPr/>
      <dgm:t>
        <a:bodyPr/>
        <a:lstStyle/>
        <a:p>
          <a:endParaRPr lang="en-IN"/>
        </a:p>
      </dgm:t>
    </dgm:pt>
    <dgm:pt modelId="{26957205-DE92-4C0D-B6AA-96F5DCCAB570}" type="sibTrans" cxnId="{40B00AE0-A7BD-4B92-A05A-0C5585AA4356}">
      <dgm:prSet/>
      <dgm:spPr/>
      <dgm:t>
        <a:bodyPr/>
        <a:lstStyle/>
        <a:p>
          <a:endParaRPr lang="en-IN"/>
        </a:p>
      </dgm:t>
    </dgm:pt>
    <dgm:pt modelId="{C752DDEE-142B-481B-907B-197DD9B7AAB4}">
      <dgm:prSet phldrT="[Text]"/>
      <dgm:spPr/>
      <dgm:t>
        <a:bodyPr/>
        <a:lstStyle/>
        <a:p>
          <a:r>
            <a:rPr lang="en-IN" dirty="0"/>
            <a:t>Uma- B- Person Maheswari – I-Person Tamilvendhan-L-Person Is-O from-O State-0</a:t>
          </a:r>
          <a:endParaRPr lang="en-IN" b="1" dirty="0"/>
        </a:p>
      </dgm:t>
    </dgm:pt>
    <dgm:pt modelId="{FFE36C60-E30D-4785-AD43-A6AF40DE1415}" type="parTrans" cxnId="{AF0F4B0A-5008-4587-A595-94999BD0EB93}">
      <dgm:prSet/>
      <dgm:spPr/>
      <dgm:t>
        <a:bodyPr/>
        <a:lstStyle/>
        <a:p>
          <a:endParaRPr lang="en-IN"/>
        </a:p>
      </dgm:t>
    </dgm:pt>
    <dgm:pt modelId="{42822ECE-397F-4485-A041-012BF37F142C}" type="sibTrans" cxnId="{AF0F4B0A-5008-4587-A595-94999BD0EB93}">
      <dgm:prSet/>
      <dgm:spPr/>
      <dgm:t>
        <a:bodyPr/>
        <a:lstStyle/>
        <a:p>
          <a:endParaRPr lang="en-IN"/>
        </a:p>
      </dgm:t>
    </dgm:pt>
    <dgm:pt modelId="{F3A95917-33CF-416C-AC0C-58385D27CE5E}">
      <dgm:prSet/>
      <dgm:spPr/>
      <dgm:t>
        <a:bodyPr/>
        <a:lstStyle/>
        <a:p>
          <a:r>
            <a:rPr lang="en-IN" dirty="0"/>
            <a:t>South –B GPE India- I GPE </a:t>
          </a:r>
          <a:r>
            <a:rPr lang="en-IN" dirty="0" err="1"/>
            <a:t>Tamilnadu</a:t>
          </a:r>
          <a:r>
            <a:rPr lang="en-IN" dirty="0"/>
            <a:t>- U GPE</a:t>
          </a:r>
        </a:p>
      </dgm:t>
    </dgm:pt>
    <dgm:pt modelId="{CA359232-04E1-41D4-BBDB-65DC1F6309B4}" type="parTrans" cxnId="{6C74BBCA-D7A4-4975-BA45-D59826E47019}">
      <dgm:prSet/>
      <dgm:spPr/>
      <dgm:t>
        <a:bodyPr/>
        <a:lstStyle/>
        <a:p>
          <a:endParaRPr lang="en-IN"/>
        </a:p>
      </dgm:t>
    </dgm:pt>
    <dgm:pt modelId="{135F5D10-271C-483C-A2BA-A326BF437081}" type="sibTrans" cxnId="{6C74BBCA-D7A4-4975-BA45-D59826E47019}">
      <dgm:prSet/>
      <dgm:spPr/>
      <dgm:t>
        <a:bodyPr/>
        <a:lstStyle/>
        <a:p>
          <a:endParaRPr lang="en-IN"/>
        </a:p>
      </dgm:t>
    </dgm:pt>
    <dgm:pt modelId="{E6BAABA4-3DB9-49B6-B7FD-A4E14E90FD8A}">
      <dgm:prSet custT="1"/>
      <dgm:spPr/>
      <dgm:t>
        <a:bodyPr/>
        <a:lstStyle/>
        <a:p>
          <a:pPr>
            <a:buFont typeface="Arial" panose="020B0604020202020204" pitchFamily="34" charset="0"/>
            <a:buChar char="•"/>
          </a:pPr>
          <a:r>
            <a:rPr lang="en-US" sz="2000" b="0" i="0" dirty="0"/>
            <a:t>O – Token is </a:t>
          </a:r>
          <a:r>
            <a:rPr lang="en-US" sz="2000" b="1" i="0" dirty="0"/>
            <a:t>outside</a:t>
          </a:r>
          <a:r>
            <a:rPr lang="en-US" sz="2000" b="0" i="0" dirty="0"/>
            <a:t> an entity.</a:t>
          </a:r>
        </a:p>
      </dgm:t>
    </dgm:pt>
    <dgm:pt modelId="{DB0834A5-6801-400B-AFF6-8BE93A19585C}" type="parTrans" cxnId="{B1628E5D-5D2F-4AF4-BC42-254A7A99B4A2}">
      <dgm:prSet/>
      <dgm:spPr/>
      <dgm:t>
        <a:bodyPr/>
        <a:lstStyle/>
        <a:p>
          <a:endParaRPr lang="en-IN"/>
        </a:p>
      </dgm:t>
    </dgm:pt>
    <dgm:pt modelId="{B1151A2F-13C4-4F86-9FE5-3DFB4F5BE333}" type="sibTrans" cxnId="{B1628E5D-5D2F-4AF4-BC42-254A7A99B4A2}">
      <dgm:prSet/>
      <dgm:spPr/>
      <dgm:t>
        <a:bodyPr/>
        <a:lstStyle/>
        <a:p>
          <a:endParaRPr lang="en-IN"/>
        </a:p>
      </dgm:t>
    </dgm:pt>
    <dgm:pt modelId="{50B9E2EA-EDD0-424C-89D2-16F57F5ACA5F}">
      <dgm:prSet custT="1"/>
      <dgm:spPr/>
      <dgm:t>
        <a:bodyPr/>
        <a:lstStyle/>
        <a:p>
          <a:pPr>
            <a:buFont typeface="Arial" panose="020B0604020202020204" pitchFamily="34" charset="0"/>
            <a:buChar char="•"/>
          </a:pPr>
          <a:r>
            <a:rPr lang="en-US" sz="2000" b="0" i="0" dirty="0"/>
            <a:t>B – Token is the </a:t>
          </a:r>
          <a:r>
            <a:rPr lang="en-US" sz="2000" b="1" i="0" dirty="0"/>
            <a:t>beginning</a:t>
          </a:r>
          <a:r>
            <a:rPr lang="en-US" sz="2000" b="0" i="0" dirty="0"/>
            <a:t> of an entity.</a:t>
          </a:r>
        </a:p>
      </dgm:t>
    </dgm:pt>
    <dgm:pt modelId="{EE2378B5-23F3-49EF-8EA9-09960DBA5F50}" type="parTrans" cxnId="{9F13BDEB-0629-4F63-B73A-1F69A72EC8B7}">
      <dgm:prSet/>
      <dgm:spPr/>
      <dgm:t>
        <a:bodyPr/>
        <a:lstStyle/>
        <a:p>
          <a:endParaRPr lang="en-IN"/>
        </a:p>
      </dgm:t>
    </dgm:pt>
    <dgm:pt modelId="{4FBE5AFB-E63E-4289-AE80-6887946B7F34}" type="sibTrans" cxnId="{9F13BDEB-0629-4F63-B73A-1F69A72EC8B7}">
      <dgm:prSet/>
      <dgm:spPr/>
      <dgm:t>
        <a:bodyPr/>
        <a:lstStyle/>
        <a:p>
          <a:endParaRPr lang="en-IN"/>
        </a:p>
      </dgm:t>
    </dgm:pt>
    <dgm:pt modelId="{3793AC59-B0F5-4D8F-B6A6-5B911FB15B8C}">
      <dgm:prSet/>
      <dgm:spPr/>
      <dgm:t>
        <a:bodyPr/>
        <a:lstStyle/>
        <a:p>
          <a:pPr>
            <a:buFont typeface="Arial" panose="020B0604020202020204" pitchFamily="34" charset="0"/>
            <a:buChar char="•"/>
          </a:pPr>
          <a:r>
            <a:rPr lang="en-IN" b="0" i="0" dirty="0"/>
            <a:t>I – Token is </a:t>
          </a:r>
          <a:r>
            <a:rPr lang="en-IN" b="1" i="0" dirty="0"/>
            <a:t>inside</a:t>
          </a:r>
          <a:r>
            <a:rPr lang="en-IN" b="0" i="0" dirty="0"/>
            <a:t> a multi-token entity.</a:t>
          </a:r>
        </a:p>
      </dgm:t>
    </dgm:pt>
    <dgm:pt modelId="{FEC8365A-F74F-464D-B586-A728A7C4A9F6}" type="parTrans" cxnId="{630FF376-9C4B-46A7-8685-41A02F100D80}">
      <dgm:prSet/>
      <dgm:spPr/>
      <dgm:t>
        <a:bodyPr/>
        <a:lstStyle/>
        <a:p>
          <a:endParaRPr lang="en-IN"/>
        </a:p>
      </dgm:t>
    </dgm:pt>
    <dgm:pt modelId="{511295B2-EAFE-4408-B6D3-1D10E8EB2C46}" type="sibTrans" cxnId="{630FF376-9C4B-46A7-8685-41A02F100D80}">
      <dgm:prSet/>
      <dgm:spPr/>
      <dgm:t>
        <a:bodyPr/>
        <a:lstStyle/>
        <a:p>
          <a:endParaRPr lang="en-IN"/>
        </a:p>
      </dgm:t>
    </dgm:pt>
    <dgm:pt modelId="{9B6D5703-9136-462A-9A6B-B2D3EC83CAF8}">
      <dgm:prSet/>
      <dgm:spPr/>
      <dgm:t>
        <a:bodyPr/>
        <a:lstStyle/>
        <a:p>
          <a:pPr>
            <a:buFont typeface="Arial" panose="020B0604020202020204" pitchFamily="34" charset="0"/>
            <a:buChar char="•"/>
          </a:pPr>
          <a:r>
            <a:rPr lang="en-US" b="0" i="0" dirty="0"/>
            <a:t>L – Token is the </a:t>
          </a:r>
          <a:r>
            <a:rPr lang="en-US" b="1" i="0" dirty="0"/>
            <a:t>last</a:t>
          </a:r>
          <a:r>
            <a:rPr lang="en-US" b="0" i="0" dirty="0"/>
            <a:t> token of a multi-token entity.</a:t>
          </a:r>
        </a:p>
      </dgm:t>
    </dgm:pt>
    <dgm:pt modelId="{8187D791-6E0D-4727-9426-E708914F85D3}" type="parTrans" cxnId="{4BC1BEC0-F305-4283-9608-FC3B8A7B1871}">
      <dgm:prSet/>
      <dgm:spPr/>
      <dgm:t>
        <a:bodyPr/>
        <a:lstStyle/>
        <a:p>
          <a:endParaRPr lang="en-IN"/>
        </a:p>
      </dgm:t>
    </dgm:pt>
    <dgm:pt modelId="{144D6AA2-B79A-4551-BD36-EF2BA983946D}" type="sibTrans" cxnId="{4BC1BEC0-F305-4283-9608-FC3B8A7B1871}">
      <dgm:prSet/>
      <dgm:spPr/>
      <dgm:t>
        <a:bodyPr/>
        <a:lstStyle/>
        <a:p>
          <a:endParaRPr lang="en-IN"/>
        </a:p>
      </dgm:t>
    </dgm:pt>
    <dgm:pt modelId="{C7B2D225-6985-473F-9AD3-92878CE5B31A}">
      <dgm:prSet/>
      <dgm:spPr/>
      <dgm:t>
        <a:bodyPr/>
        <a:lstStyle/>
        <a:p>
          <a:pPr>
            <a:buFont typeface="Arial" panose="020B0604020202020204" pitchFamily="34" charset="0"/>
            <a:buChar char="•"/>
          </a:pPr>
          <a:r>
            <a:rPr lang="en-IN" b="0" i="0" dirty="0"/>
            <a:t>U – Token is a single-token </a:t>
          </a:r>
          <a:r>
            <a:rPr lang="en-IN" b="1" i="0" dirty="0"/>
            <a:t>unit</a:t>
          </a:r>
          <a:r>
            <a:rPr lang="en-IN" b="0" i="0" dirty="0"/>
            <a:t> entity.</a:t>
          </a:r>
        </a:p>
      </dgm:t>
    </dgm:pt>
    <dgm:pt modelId="{9430CF93-3A5A-423C-A8A2-DB0B0E7C4D52}" type="parTrans" cxnId="{52FD91DD-93D7-49EF-8DE3-3045616BA60A}">
      <dgm:prSet/>
      <dgm:spPr/>
      <dgm:t>
        <a:bodyPr/>
        <a:lstStyle/>
        <a:p>
          <a:endParaRPr lang="en-IN"/>
        </a:p>
      </dgm:t>
    </dgm:pt>
    <dgm:pt modelId="{FDBEDF69-90AA-487E-A061-FDDEA24794F9}" type="sibTrans" cxnId="{52FD91DD-93D7-49EF-8DE3-3045616BA60A}">
      <dgm:prSet/>
      <dgm:spPr/>
      <dgm:t>
        <a:bodyPr/>
        <a:lstStyle/>
        <a:p>
          <a:endParaRPr lang="en-IN"/>
        </a:p>
      </dgm:t>
    </dgm:pt>
    <dgm:pt modelId="{C078B48A-86E6-4111-8657-8C7DFA8196D3}">
      <dgm:prSet/>
      <dgm:spPr/>
      <dgm:t>
        <a:bodyPr/>
        <a:lstStyle/>
        <a:p>
          <a:pPr>
            <a:buFont typeface="Arial" panose="020B0604020202020204" pitchFamily="34" charset="0"/>
            <a:buChar char="•"/>
          </a:pPr>
          <a:r>
            <a:rPr lang="en-US" b="0" i="0" dirty="0"/>
            <a:t>O – Token is </a:t>
          </a:r>
          <a:r>
            <a:rPr lang="en-US" b="1" i="0" dirty="0"/>
            <a:t>outside</a:t>
          </a:r>
          <a:r>
            <a:rPr lang="en-US" b="0" i="0" dirty="0"/>
            <a:t> an entity.</a:t>
          </a:r>
        </a:p>
      </dgm:t>
    </dgm:pt>
    <dgm:pt modelId="{778C11DC-9B2E-4BED-8027-84C68FB102B7}" type="parTrans" cxnId="{BB247395-CDCF-4738-B08E-21550D5B26FB}">
      <dgm:prSet/>
      <dgm:spPr/>
      <dgm:t>
        <a:bodyPr/>
        <a:lstStyle/>
        <a:p>
          <a:endParaRPr lang="en-IN"/>
        </a:p>
      </dgm:t>
    </dgm:pt>
    <dgm:pt modelId="{5E87E01C-0C5A-4D5D-AA50-8009D8A52CCF}" type="sibTrans" cxnId="{BB247395-CDCF-4738-B08E-21550D5B26FB}">
      <dgm:prSet/>
      <dgm:spPr/>
      <dgm:t>
        <a:bodyPr/>
        <a:lstStyle/>
        <a:p>
          <a:endParaRPr lang="en-IN"/>
        </a:p>
      </dgm:t>
    </dgm:pt>
    <dgm:pt modelId="{AABA3B1A-91DB-4772-B5A8-599C03C79CC4}" type="pres">
      <dgm:prSet presAssocID="{30BE96F2-4962-473B-B61C-7C9EFC622CD1}" presName="Name0" presStyleCnt="0">
        <dgm:presLayoutVars>
          <dgm:dir/>
          <dgm:animLvl val="lvl"/>
          <dgm:resizeHandles val="exact"/>
        </dgm:presLayoutVars>
      </dgm:prSet>
      <dgm:spPr/>
    </dgm:pt>
    <dgm:pt modelId="{5BC297A7-ECC7-4900-BFC8-E07F25D57219}" type="pres">
      <dgm:prSet presAssocID="{8C0A1652-F6B2-49CD-A40F-208791162FFD}" presName="composite" presStyleCnt="0"/>
      <dgm:spPr/>
    </dgm:pt>
    <dgm:pt modelId="{709A32F9-5D01-4791-BF18-8B2FE0353165}" type="pres">
      <dgm:prSet presAssocID="{8C0A1652-F6B2-49CD-A40F-208791162FFD}" presName="parTx" presStyleLbl="alignNode1" presStyleIdx="0" presStyleCnt="2">
        <dgm:presLayoutVars>
          <dgm:chMax val="0"/>
          <dgm:chPref val="0"/>
          <dgm:bulletEnabled val="1"/>
        </dgm:presLayoutVars>
      </dgm:prSet>
      <dgm:spPr/>
    </dgm:pt>
    <dgm:pt modelId="{BAE88247-5A5C-4FC4-BD09-15D1D1B7BBD7}" type="pres">
      <dgm:prSet presAssocID="{8C0A1652-F6B2-49CD-A40F-208791162FFD}" presName="desTx" presStyleLbl="alignAccFollowNode1" presStyleIdx="0" presStyleCnt="2">
        <dgm:presLayoutVars>
          <dgm:bulletEnabled val="1"/>
        </dgm:presLayoutVars>
      </dgm:prSet>
      <dgm:spPr/>
    </dgm:pt>
    <dgm:pt modelId="{A1EF6A01-30BE-4263-9D1D-CB7238300BF1}" type="pres">
      <dgm:prSet presAssocID="{883248DB-3EEB-451A-B550-1DECB61858F6}" presName="space" presStyleCnt="0"/>
      <dgm:spPr/>
    </dgm:pt>
    <dgm:pt modelId="{80AE00DE-850B-409F-B8A8-F03EE33E1360}" type="pres">
      <dgm:prSet presAssocID="{06295EE8-C6CF-4949-A2E9-30A9F1655986}" presName="composite" presStyleCnt="0"/>
      <dgm:spPr/>
    </dgm:pt>
    <dgm:pt modelId="{AA982CA6-9DA3-4556-971F-3367434D07BB}" type="pres">
      <dgm:prSet presAssocID="{06295EE8-C6CF-4949-A2E9-30A9F1655986}" presName="parTx" presStyleLbl="alignNode1" presStyleIdx="1" presStyleCnt="2" custScaleX="114863">
        <dgm:presLayoutVars>
          <dgm:chMax val="0"/>
          <dgm:chPref val="0"/>
          <dgm:bulletEnabled val="1"/>
        </dgm:presLayoutVars>
      </dgm:prSet>
      <dgm:spPr/>
    </dgm:pt>
    <dgm:pt modelId="{EB879766-AFAF-455A-B404-810805A95B19}" type="pres">
      <dgm:prSet presAssocID="{06295EE8-C6CF-4949-A2E9-30A9F1655986}" presName="desTx" presStyleLbl="alignAccFollowNode1" presStyleIdx="1" presStyleCnt="2" custScaleX="114807">
        <dgm:presLayoutVars>
          <dgm:bulletEnabled val="1"/>
        </dgm:presLayoutVars>
      </dgm:prSet>
      <dgm:spPr/>
    </dgm:pt>
  </dgm:ptLst>
  <dgm:cxnLst>
    <dgm:cxn modelId="{AF0F4B0A-5008-4587-A595-94999BD0EB93}" srcId="{06295EE8-C6CF-4949-A2E9-30A9F1655986}" destId="{C752DDEE-142B-481B-907B-197DD9B7AAB4}" srcOrd="6" destOrd="0" parTransId="{FFE36C60-E30D-4785-AD43-A6AF40DE1415}" sibTransId="{42822ECE-397F-4485-A041-012BF37F142C}"/>
    <dgm:cxn modelId="{A9E2202B-DCCD-4D8C-8F41-CD0FD724EDF5}" type="presOf" srcId="{F65DC015-2677-4286-AA67-7A12DE49FE8A}" destId="{BAE88247-5A5C-4FC4-BD09-15D1D1B7BBD7}" srcOrd="0" destOrd="4" presId="urn:microsoft.com/office/officeart/2005/8/layout/hList1"/>
    <dgm:cxn modelId="{9CE5C42F-03EB-47C0-89CA-82E73CD1C4C2}" type="presOf" srcId="{9B6D5703-9136-462A-9A6B-B2D3EC83CAF8}" destId="{EB879766-AFAF-455A-B404-810805A95B19}" srcOrd="0" destOrd="2" presId="urn:microsoft.com/office/officeart/2005/8/layout/hList1"/>
    <dgm:cxn modelId="{5914F02F-B9F5-4C31-875B-2E31447CDEF2}" type="presOf" srcId="{C078B48A-86E6-4111-8657-8C7DFA8196D3}" destId="{EB879766-AFAF-455A-B404-810805A95B19}" srcOrd="0" destOrd="4" presId="urn:microsoft.com/office/officeart/2005/8/layout/hList1"/>
    <dgm:cxn modelId="{64B88B34-D396-4767-AA22-882F5EF7B6BF}" type="presOf" srcId="{F3A95917-33CF-416C-AC0C-58385D27CE5E}" destId="{EB879766-AFAF-455A-B404-810805A95B19}" srcOrd="0" destOrd="7" presId="urn:microsoft.com/office/officeart/2005/8/layout/hList1"/>
    <dgm:cxn modelId="{549F4940-07C5-402B-9140-E416ACFEA1C2}" type="presOf" srcId="{3D1FE309-7B7C-4465-A905-F4ABBA92DB79}" destId="{EB879766-AFAF-455A-B404-810805A95B19}" srcOrd="0" destOrd="5" presId="urn:microsoft.com/office/officeart/2005/8/layout/hList1"/>
    <dgm:cxn modelId="{B1628E5D-5D2F-4AF4-BC42-254A7A99B4A2}" srcId="{8C0A1652-F6B2-49CD-A40F-208791162FFD}" destId="{E6BAABA4-3DB9-49B6-B7FD-A4E14E90FD8A}" srcOrd="1" destOrd="0" parTransId="{DB0834A5-6801-400B-AFF6-8BE93A19585C}" sibTransId="{B1151A2F-13C4-4F86-9FE5-3DFB4F5BE333}"/>
    <dgm:cxn modelId="{18C73E49-98B6-4ED7-A6F6-4242F1D8E958}" srcId="{06295EE8-C6CF-4949-A2E9-30A9F1655986}" destId="{3D1FE309-7B7C-4465-A905-F4ABBA92DB79}" srcOrd="5" destOrd="0" parTransId="{9D95B05D-6C39-4A1C-B0FD-02C03D0E249C}" sibTransId="{0D34693C-7707-4E78-915F-218AA185051C}"/>
    <dgm:cxn modelId="{C5865C4A-5F4A-4616-81E5-0BFEF3CE397C}" srcId="{8C0A1652-F6B2-49CD-A40F-208791162FFD}" destId="{F65DC015-2677-4286-AA67-7A12DE49FE8A}" srcOrd="4" destOrd="0" parTransId="{0485A7E3-79C7-4FE3-A674-EE5C2C626389}" sibTransId="{18471381-F9FB-482C-9C3E-7B154332E224}"/>
    <dgm:cxn modelId="{035EBA4B-60A4-40EA-B5F1-2B81D7D5E883}" srcId="{8C0A1652-F6B2-49CD-A40F-208791162FFD}" destId="{BA5D0F31-F6F2-469F-A047-17C29A3B982B}" srcOrd="5" destOrd="0" parTransId="{4A7503B5-552F-494A-9466-50698EC6D787}" sibTransId="{BF2E0BCC-5524-401A-B23B-A2E65653C6D2}"/>
    <dgm:cxn modelId="{514CCE4F-94DC-4647-850D-5EC6B9E07C60}" type="presOf" srcId="{50B9E2EA-EDD0-424C-89D2-16F57F5ACA5F}" destId="{BAE88247-5A5C-4FC4-BD09-15D1D1B7BBD7}" srcOrd="0" destOrd="2" presId="urn:microsoft.com/office/officeart/2005/8/layout/hList1"/>
    <dgm:cxn modelId="{EBB11E52-2A70-430B-8E35-5C9F18A94564}" type="presOf" srcId="{8C0A1652-F6B2-49CD-A40F-208791162FFD}" destId="{709A32F9-5D01-4791-BF18-8B2FE0353165}" srcOrd="0" destOrd="0" presId="urn:microsoft.com/office/officeart/2005/8/layout/hList1"/>
    <dgm:cxn modelId="{DF99A654-CD6C-46F9-8559-EBDD85D0489B}" srcId="{8C0A1652-F6B2-49CD-A40F-208791162FFD}" destId="{0C1E8E62-2ADF-47A2-88DD-F0B08E34B350}" srcOrd="3" destOrd="0" parTransId="{E4BFAED0-351E-4759-8C68-2F0804C82719}" sibTransId="{59F6C8DE-3F62-45D9-93D5-BFBF4B9C1B2A}"/>
    <dgm:cxn modelId="{A79F0756-5400-48B7-9C41-BE729545220F}" type="presOf" srcId="{30BE96F2-4962-473B-B61C-7C9EFC622CD1}" destId="{AABA3B1A-91DB-4772-B5A8-599C03C79CC4}" srcOrd="0" destOrd="0" presId="urn:microsoft.com/office/officeart/2005/8/layout/hList1"/>
    <dgm:cxn modelId="{630FF376-9C4B-46A7-8685-41A02F100D80}" srcId="{06295EE8-C6CF-4949-A2E9-30A9F1655986}" destId="{3793AC59-B0F5-4D8F-B6A6-5B911FB15B8C}" srcOrd="1" destOrd="0" parTransId="{FEC8365A-F74F-464D-B586-A728A7C4A9F6}" sibTransId="{511295B2-EAFE-4408-B6D3-1D10E8EB2C46}"/>
    <dgm:cxn modelId="{0CBD787C-ADE6-4A2D-AA16-CF503AEEF8AA}" type="presOf" srcId="{C752DDEE-142B-481B-907B-197DD9B7AAB4}" destId="{EB879766-AFAF-455A-B404-810805A95B19}" srcOrd="0" destOrd="6" presId="urn:microsoft.com/office/officeart/2005/8/layout/hList1"/>
    <dgm:cxn modelId="{D1EDFF7C-E927-4179-B1F5-2E25D3ED90F1}" srcId="{8C0A1652-F6B2-49CD-A40F-208791162FFD}" destId="{59FBD5EB-11EE-4A02-9A3B-0E0CC389E27A}" srcOrd="0" destOrd="0" parTransId="{769BC9AA-85DA-4BA0-A307-3762C291B66B}" sibTransId="{6FA21622-BBC0-4834-AA8D-F6EFF4A8C57C}"/>
    <dgm:cxn modelId="{60ED337F-1E1C-4CE7-B2B2-153F971CFF37}" type="presOf" srcId="{3793AC59-B0F5-4D8F-B6A6-5B911FB15B8C}" destId="{EB879766-AFAF-455A-B404-810805A95B19}" srcOrd="0" destOrd="1" presId="urn:microsoft.com/office/officeart/2005/8/layout/hList1"/>
    <dgm:cxn modelId="{46FF6887-759A-44DC-9EAC-828EA8734885}" type="presOf" srcId="{0C1E8E62-2ADF-47A2-88DD-F0B08E34B350}" destId="{BAE88247-5A5C-4FC4-BD09-15D1D1B7BBD7}" srcOrd="0" destOrd="3" presId="urn:microsoft.com/office/officeart/2005/8/layout/hList1"/>
    <dgm:cxn modelId="{0325EC88-23FF-4EFB-8FDF-8EE41E21AB96}" type="presOf" srcId="{65573D3B-3BAA-456A-AA2E-7F05D17191EE}" destId="{BAE88247-5A5C-4FC4-BD09-15D1D1B7BBD7}" srcOrd="0" destOrd="6" presId="urn:microsoft.com/office/officeart/2005/8/layout/hList1"/>
    <dgm:cxn modelId="{BB247395-CDCF-4738-B08E-21550D5B26FB}" srcId="{06295EE8-C6CF-4949-A2E9-30A9F1655986}" destId="{C078B48A-86E6-4111-8657-8C7DFA8196D3}" srcOrd="4" destOrd="0" parTransId="{778C11DC-9B2E-4BED-8027-84C68FB102B7}" sibTransId="{5E87E01C-0C5A-4D5D-AA50-8009D8A52CCF}"/>
    <dgm:cxn modelId="{0BC3A8A3-2951-4003-9E25-C23AF821B9A5}" srcId="{06295EE8-C6CF-4949-A2E9-30A9F1655986}" destId="{50D7318B-51FB-4769-9815-1D7369B9DD73}" srcOrd="0" destOrd="0" parTransId="{8341223F-24A5-4EFD-BAD3-78DBBD735FB0}" sibTransId="{2AF8F33D-ECCF-40D4-B408-3BC8A6DB702E}"/>
    <dgm:cxn modelId="{6DDA34B4-3904-4B2D-9E2D-411E7B341A2D}" type="presOf" srcId="{C7B2D225-6985-473F-9AD3-92878CE5B31A}" destId="{EB879766-AFAF-455A-B404-810805A95B19}" srcOrd="0" destOrd="3" presId="urn:microsoft.com/office/officeart/2005/8/layout/hList1"/>
    <dgm:cxn modelId="{98DD99C0-2AE8-4405-95A9-C245F8F503F5}" type="presOf" srcId="{59FBD5EB-11EE-4A02-9A3B-0E0CC389E27A}" destId="{BAE88247-5A5C-4FC4-BD09-15D1D1B7BBD7}" srcOrd="0" destOrd="0" presId="urn:microsoft.com/office/officeart/2005/8/layout/hList1"/>
    <dgm:cxn modelId="{4BC1BEC0-F305-4283-9608-FC3B8A7B1871}" srcId="{06295EE8-C6CF-4949-A2E9-30A9F1655986}" destId="{9B6D5703-9136-462A-9A6B-B2D3EC83CAF8}" srcOrd="2" destOrd="0" parTransId="{8187D791-6E0D-4727-9426-E708914F85D3}" sibTransId="{144D6AA2-B79A-4551-BD36-EF2BA983946D}"/>
    <dgm:cxn modelId="{F13AB0CA-0C9F-4EFF-8569-C0E3E0D1884D}" type="presOf" srcId="{06295EE8-C6CF-4949-A2E9-30A9F1655986}" destId="{AA982CA6-9DA3-4556-971F-3367434D07BB}" srcOrd="0" destOrd="0" presId="urn:microsoft.com/office/officeart/2005/8/layout/hList1"/>
    <dgm:cxn modelId="{6C74BBCA-D7A4-4975-BA45-D59826E47019}" srcId="{06295EE8-C6CF-4949-A2E9-30A9F1655986}" destId="{F3A95917-33CF-416C-AC0C-58385D27CE5E}" srcOrd="7" destOrd="0" parTransId="{CA359232-04E1-41D4-BBDB-65DC1F6309B4}" sibTransId="{135F5D10-271C-483C-A2BA-A326BF437081}"/>
    <dgm:cxn modelId="{52FD91DD-93D7-49EF-8DE3-3045616BA60A}" srcId="{06295EE8-C6CF-4949-A2E9-30A9F1655986}" destId="{C7B2D225-6985-473F-9AD3-92878CE5B31A}" srcOrd="3" destOrd="0" parTransId="{9430CF93-3A5A-423C-A8A2-DB0B0E7C4D52}" sibTransId="{FDBEDF69-90AA-487E-A061-FDDEA24794F9}"/>
    <dgm:cxn modelId="{9109BDDE-833A-4788-A26C-7B2E554942AD}" type="presOf" srcId="{50D7318B-51FB-4769-9815-1D7369B9DD73}" destId="{EB879766-AFAF-455A-B404-810805A95B19}" srcOrd="0" destOrd="0" presId="urn:microsoft.com/office/officeart/2005/8/layout/hList1"/>
    <dgm:cxn modelId="{40B00AE0-A7BD-4B92-A05A-0C5585AA4356}" srcId="{8C0A1652-F6B2-49CD-A40F-208791162FFD}" destId="{65573D3B-3BAA-456A-AA2E-7F05D17191EE}" srcOrd="6" destOrd="0" parTransId="{A6E90991-2F7D-4A24-9016-103D970B5B44}" sibTransId="{26957205-DE92-4C0D-B6AA-96F5DCCAB570}"/>
    <dgm:cxn modelId="{A1EB9BE2-694B-4112-BB1A-E74D60B3AF3D}" type="presOf" srcId="{E6BAABA4-3DB9-49B6-B7FD-A4E14E90FD8A}" destId="{BAE88247-5A5C-4FC4-BD09-15D1D1B7BBD7}" srcOrd="0" destOrd="1" presId="urn:microsoft.com/office/officeart/2005/8/layout/hList1"/>
    <dgm:cxn modelId="{9A6C6AE8-3C94-4BB3-8368-8DFEE25DEB02}" srcId="{30BE96F2-4962-473B-B61C-7C9EFC622CD1}" destId="{06295EE8-C6CF-4949-A2E9-30A9F1655986}" srcOrd="1" destOrd="0" parTransId="{0D972798-3B9E-43AF-BCDA-BCF3C4B57D6E}" sibTransId="{5F8A2219-AD9A-48CC-947C-489B1CC72E6D}"/>
    <dgm:cxn modelId="{9F13BDEB-0629-4F63-B73A-1F69A72EC8B7}" srcId="{8C0A1652-F6B2-49CD-A40F-208791162FFD}" destId="{50B9E2EA-EDD0-424C-89D2-16F57F5ACA5F}" srcOrd="2" destOrd="0" parTransId="{EE2378B5-23F3-49EF-8EA9-09960DBA5F50}" sibTransId="{4FBE5AFB-E63E-4289-AE80-6887946B7F34}"/>
    <dgm:cxn modelId="{93CB5BF5-FB09-4BE3-B9A7-43F300863416}" type="presOf" srcId="{BA5D0F31-F6F2-469F-A047-17C29A3B982B}" destId="{BAE88247-5A5C-4FC4-BD09-15D1D1B7BBD7}" srcOrd="0" destOrd="5" presId="urn:microsoft.com/office/officeart/2005/8/layout/hList1"/>
    <dgm:cxn modelId="{D83E9EFC-3A0F-42B9-B9F7-156F70C509B4}" srcId="{30BE96F2-4962-473B-B61C-7C9EFC622CD1}" destId="{8C0A1652-F6B2-49CD-A40F-208791162FFD}" srcOrd="0" destOrd="0" parTransId="{AC31393B-1F15-43BD-A251-B97ADBE2DAC6}" sibTransId="{883248DB-3EEB-451A-B550-1DECB61858F6}"/>
    <dgm:cxn modelId="{B92A5BCB-6E57-4906-B6D1-7E8D1BD7ECFE}" type="presParOf" srcId="{AABA3B1A-91DB-4772-B5A8-599C03C79CC4}" destId="{5BC297A7-ECC7-4900-BFC8-E07F25D57219}" srcOrd="0" destOrd="0" presId="urn:microsoft.com/office/officeart/2005/8/layout/hList1"/>
    <dgm:cxn modelId="{F0F4E0BF-920A-4165-AAC9-9F8088BD2989}" type="presParOf" srcId="{5BC297A7-ECC7-4900-BFC8-E07F25D57219}" destId="{709A32F9-5D01-4791-BF18-8B2FE0353165}" srcOrd="0" destOrd="0" presId="urn:microsoft.com/office/officeart/2005/8/layout/hList1"/>
    <dgm:cxn modelId="{7A295A04-D87C-4108-A64F-AC3E129F5671}" type="presParOf" srcId="{5BC297A7-ECC7-4900-BFC8-E07F25D57219}" destId="{BAE88247-5A5C-4FC4-BD09-15D1D1B7BBD7}" srcOrd="1" destOrd="0" presId="urn:microsoft.com/office/officeart/2005/8/layout/hList1"/>
    <dgm:cxn modelId="{E69E69D4-1F2F-4F15-AB27-06A403D59F0A}" type="presParOf" srcId="{AABA3B1A-91DB-4772-B5A8-599C03C79CC4}" destId="{A1EF6A01-30BE-4263-9D1D-CB7238300BF1}" srcOrd="1" destOrd="0" presId="urn:microsoft.com/office/officeart/2005/8/layout/hList1"/>
    <dgm:cxn modelId="{484FA685-6911-4A7D-A856-54A8DAF0C05D}" type="presParOf" srcId="{AABA3B1A-91DB-4772-B5A8-599C03C79CC4}" destId="{80AE00DE-850B-409F-B8A8-F03EE33E1360}" srcOrd="2" destOrd="0" presId="urn:microsoft.com/office/officeart/2005/8/layout/hList1"/>
    <dgm:cxn modelId="{37258CA2-058A-4D16-B784-FF5FE984D387}" type="presParOf" srcId="{80AE00DE-850B-409F-B8A8-F03EE33E1360}" destId="{AA982CA6-9DA3-4556-971F-3367434D07BB}" srcOrd="0" destOrd="0" presId="urn:microsoft.com/office/officeart/2005/8/layout/hList1"/>
    <dgm:cxn modelId="{6C5AA536-6F49-4FF9-9F5B-ED96DDB3218D}" type="presParOf" srcId="{80AE00DE-850B-409F-B8A8-F03EE33E1360}" destId="{EB879766-AFAF-455A-B404-810805A95B19}"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F50584-DB51-4065-80DB-C3287766810E}"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6BD3A44D-98B7-4CED-97CD-ED06F00E4E3E}">
      <dgm:prSet/>
      <dgm:spPr/>
      <dgm:t>
        <a:bodyPr/>
        <a:lstStyle/>
        <a:p>
          <a:pPr>
            <a:lnSpc>
              <a:spcPct val="100000"/>
            </a:lnSpc>
            <a:defRPr cap="all"/>
          </a:pPr>
          <a:r>
            <a:rPr lang="en-IN" dirty="0"/>
            <a:t>NLP is a field of study that deals with </a:t>
          </a:r>
          <a:r>
            <a:rPr lang="en-US" dirty="0"/>
            <a:t>interactions between computers  and human languages</a:t>
          </a:r>
        </a:p>
      </dgm:t>
    </dgm:pt>
    <dgm:pt modelId="{6592C3FA-27F2-44B9-8190-3557A1B5AAFB}" type="parTrans" cxnId="{6A9FC0CA-9164-4D87-8639-9B1A6C71576A}">
      <dgm:prSet/>
      <dgm:spPr/>
      <dgm:t>
        <a:bodyPr/>
        <a:lstStyle/>
        <a:p>
          <a:endParaRPr lang="en-US"/>
        </a:p>
      </dgm:t>
    </dgm:pt>
    <dgm:pt modelId="{B7960168-4029-42A0-B61C-E776F18F20E0}" type="sibTrans" cxnId="{6A9FC0CA-9164-4D87-8639-9B1A6C71576A}">
      <dgm:prSet/>
      <dgm:spPr/>
      <dgm:t>
        <a:bodyPr/>
        <a:lstStyle/>
        <a:p>
          <a:endParaRPr lang="en-US"/>
        </a:p>
      </dgm:t>
    </dgm:pt>
    <dgm:pt modelId="{DD4D3713-4720-4A30-9C87-F6A50D4B0B21}" type="pres">
      <dgm:prSet presAssocID="{DBF50584-DB51-4065-80DB-C3287766810E}" presName="root" presStyleCnt="0">
        <dgm:presLayoutVars>
          <dgm:dir/>
          <dgm:resizeHandles val="exact"/>
        </dgm:presLayoutVars>
      </dgm:prSet>
      <dgm:spPr/>
    </dgm:pt>
    <dgm:pt modelId="{9A68620F-1267-4B73-91C5-00B5D40858B5}" type="pres">
      <dgm:prSet presAssocID="{6BD3A44D-98B7-4CED-97CD-ED06F00E4E3E}" presName="compNode" presStyleCnt="0"/>
      <dgm:spPr/>
    </dgm:pt>
    <dgm:pt modelId="{19C2BF68-9887-48DE-B715-A87733085020}" type="pres">
      <dgm:prSet presAssocID="{6BD3A44D-98B7-4CED-97CD-ED06F00E4E3E}" presName="iconBgRect" presStyleLbl="bgShp" presStyleIdx="0" presStyleCnt="1"/>
      <dgm:spPr/>
    </dgm:pt>
    <dgm:pt modelId="{F2E9E077-8350-42A5-9EA4-7AD944F33B76}" type="pres">
      <dgm:prSet presAssocID="{6BD3A44D-98B7-4CED-97CD-ED06F00E4E3E}"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ead with Gears"/>
        </a:ext>
      </dgm:extLst>
    </dgm:pt>
    <dgm:pt modelId="{F7D817FF-3655-42AE-A4B1-EEA491B7A5AC}" type="pres">
      <dgm:prSet presAssocID="{6BD3A44D-98B7-4CED-97CD-ED06F00E4E3E}" presName="spaceRect" presStyleCnt="0"/>
      <dgm:spPr/>
    </dgm:pt>
    <dgm:pt modelId="{CA93C810-B3EC-4EE4-A424-E79B2BB4048E}" type="pres">
      <dgm:prSet presAssocID="{6BD3A44D-98B7-4CED-97CD-ED06F00E4E3E}" presName="textRect" presStyleLbl="revTx" presStyleIdx="0" presStyleCnt="1" custScaleX="368913" custScaleY="100000" custLinFactNeighborY="-33729">
        <dgm:presLayoutVars>
          <dgm:chMax val="1"/>
          <dgm:chPref val="1"/>
        </dgm:presLayoutVars>
      </dgm:prSet>
      <dgm:spPr/>
    </dgm:pt>
  </dgm:ptLst>
  <dgm:cxnLst>
    <dgm:cxn modelId="{9524102F-69CC-4E9A-AAC9-31497D975E32}" type="presOf" srcId="{6BD3A44D-98B7-4CED-97CD-ED06F00E4E3E}" destId="{CA93C810-B3EC-4EE4-A424-E79B2BB4048E}" srcOrd="0" destOrd="0" presId="urn:microsoft.com/office/officeart/2018/5/layout/IconCircleLabelList"/>
    <dgm:cxn modelId="{E6EA47AC-0CAA-4917-B542-66007761A9E6}" type="presOf" srcId="{DBF50584-DB51-4065-80DB-C3287766810E}" destId="{DD4D3713-4720-4A30-9C87-F6A50D4B0B21}" srcOrd="0" destOrd="0" presId="urn:microsoft.com/office/officeart/2018/5/layout/IconCircleLabelList"/>
    <dgm:cxn modelId="{6A9FC0CA-9164-4D87-8639-9B1A6C71576A}" srcId="{DBF50584-DB51-4065-80DB-C3287766810E}" destId="{6BD3A44D-98B7-4CED-97CD-ED06F00E4E3E}" srcOrd="0" destOrd="0" parTransId="{6592C3FA-27F2-44B9-8190-3557A1B5AAFB}" sibTransId="{B7960168-4029-42A0-B61C-E776F18F20E0}"/>
    <dgm:cxn modelId="{5F107B52-9529-4234-98FE-E9BAD62DB505}" type="presParOf" srcId="{DD4D3713-4720-4A30-9C87-F6A50D4B0B21}" destId="{9A68620F-1267-4B73-91C5-00B5D40858B5}" srcOrd="0" destOrd="0" presId="urn:microsoft.com/office/officeart/2018/5/layout/IconCircleLabelList"/>
    <dgm:cxn modelId="{1429D9FA-94A0-47FB-9783-F111F4AEF084}" type="presParOf" srcId="{9A68620F-1267-4B73-91C5-00B5D40858B5}" destId="{19C2BF68-9887-48DE-B715-A87733085020}" srcOrd="0" destOrd="0" presId="urn:microsoft.com/office/officeart/2018/5/layout/IconCircleLabelList"/>
    <dgm:cxn modelId="{8F860FA3-D540-4432-9057-1259EA1544E6}" type="presParOf" srcId="{9A68620F-1267-4B73-91C5-00B5D40858B5}" destId="{F2E9E077-8350-42A5-9EA4-7AD944F33B76}" srcOrd="1" destOrd="0" presId="urn:microsoft.com/office/officeart/2018/5/layout/IconCircleLabelList"/>
    <dgm:cxn modelId="{00EBB9B9-246B-41C0-A02B-BE8EF84B5B94}" type="presParOf" srcId="{9A68620F-1267-4B73-91C5-00B5D40858B5}" destId="{F7D817FF-3655-42AE-A4B1-EEA491B7A5AC}" srcOrd="2" destOrd="0" presId="urn:microsoft.com/office/officeart/2018/5/layout/IconCircleLabelList"/>
    <dgm:cxn modelId="{19F5E282-14F9-4DFE-8FC6-336F08147B3D}" type="presParOf" srcId="{9A68620F-1267-4B73-91C5-00B5D40858B5}" destId="{CA93C810-B3EC-4EE4-A424-E79B2BB4048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D57D85-32A0-4B82-B725-353A28DDE2CF}"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51037363-810B-4394-958C-248EB281D523}">
      <dgm:prSet/>
      <dgm:spPr/>
      <dgm:t>
        <a:bodyPr/>
        <a:lstStyle/>
        <a:p>
          <a:r>
            <a:rPr lang="en-US"/>
            <a:t>Brand Monitoring in Marketing</a:t>
          </a:r>
        </a:p>
      </dgm:t>
    </dgm:pt>
    <dgm:pt modelId="{FF5B766E-1197-4D2E-B98C-97A82FF422E7}" type="parTrans" cxnId="{0BFA19F8-3120-4C45-93E2-8714A39FF898}">
      <dgm:prSet/>
      <dgm:spPr/>
      <dgm:t>
        <a:bodyPr/>
        <a:lstStyle/>
        <a:p>
          <a:endParaRPr lang="en-US"/>
        </a:p>
      </dgm:t>
    </dgm:pt>
    <dgm:pt modelId="{99C4A590-AE7E-45DC-99CA-F87BD8A69BEF}" type="sibTrans" cxnId="{0BFA19F8-3120-4C45-93E2-8714A39FF898}">
      <dgm:prSet/>
      <dgm:spPr/>
      <dgm:t>
        <a:bodyPr/>
        <a:lstStyle/>
        <a:p>
          <a:endParaRPr lang="en-US"/>
        </a:p>
      </dgm:t>
    </dgm:pt>
    <dgm:pt modelId="{50370AFB-7150-4641-A115-1DA5C10FB464}">
      <dgm:prSet/>
      <dgm:spPr/>
      <dgm:t>
        <a:bodyPr/>
        <a:lstStyle/>
        <a:p>
          <a:r>
            <a:rPr lang="en-US"/>
            <a:t>Intelligent Document processing</a:t>
          </a:r>
        </a:p>
      </dgm:t>
    </dgm:pt>
    <dgm:pt modelId="{F359E764-CA74-4FCD-85A0-00CEB1FA6F82}" type="parTrans" cxnId="{F3902A03-6663-4AA5-B195-92C117436F6F}">
      <dgm:prSet/>
      <dgm:spPr/>
      <dgm:t>
        <a:bodyPr/>
        <a:lstStyle/>
        <a:p>
          <a:endParaRPr lang="en-US"/>
        </a:p>
      </dgm:t>
    </dgm:pt>
    <dgm:pt modelId="{84A420FC-3606-4A90-9092-53859FA29B19}" type="sibTrans" cxnId="{F3902A03-6663-4AA5-B195-92C117436F6F}">
      <dgm:prSet/>
      <dgm:spPr/>
      <dgm:t>
        <a:bodyPr/>
        <a:lstStyle/>
        <a:p>
          <a:endParaRPr lang="en-US"/>
        </a:p>
      </dgm:t>
    </dgm:pt>
    <dgm:pt modelId="{518C710A-15E6-4FEB-8671-0EA85E80FCA4}">
      <dgm:prSet/>
      <dgm:spPr/>
      <dgm:t>
        <a:bodyPr/>
        <a:lstStyle/>
        <a:p>
          <a:r>
            <a:rPr lang="en-US"/>
            <a:t>Clinical Text Mining in Healthcare</a:t>
          </a:r>
        </a:p>
      </dgm:t>
    </dgm:pt>
    <dgm:pt modelId="{DD1F3FD5-87FC-4D35-9587-51C5E05D6BDF}" type="parTrans" cxnId="{5D0B7F59-18B0-4E41-93E3-F04D21F2E48B}">
      <dgm:prSet/>
      <dgm:spPr/>
      <dgm:t>
        <a:bodyPr/>
        <a:lstStyle/>
        <a:p>
          <a:endParaRPr lang="en-US"/>
        </a:p>
      </dgm:t>
    </dgm:pt>
    <dgm:pt modelId="{00F2374F-E929-4196-8A68-D9A7A39898F0}" type="sibTrans" cxnId="{5D0B7F59-18B0-4E41-93E3-F04D21F2E48B}">
      <dgm:prSet/>
      <dgm:spPr/>
      <dgm:t>
        <a:bodyPr/>
        <a:lstStyle/>
        <a:p>
          <a:endParaRPr lang="en-US"/>
        </a:p>
      </dgm:t>
    </dgm:pt>
    <dgm:pt modelId="{8E5CA834-F78E-4BD6-9064-F4D608F909C9}">
      <dgm:prSet/>
      <dgm:spPr/>
      <dgm:t>
        <a:bodyPr/>
        <a:lstStyle/>
        <a:p>
          <a:r>
            <a:rPr lang="en-US"/>
            <a:t>Fraud Detection and Security in Insurance Domain</a:t>
          </a:r>
        </a:p>
      </dgm:t>
    </dgm:pt>
    <dgm:pt modelId="{6FC6ADE9-0657-4E94-B588-BE9BCE9BE992}" type="parTrans" cxnId="{86CD528D-6169-41F0-94D7-33A8AADD417C}">
      <dgm:prSet/>
      <dgm:spPr/>
      <dgm:t>
        <a:bodyPr/>
        <a:lstStyle/>
        <a:p>
          <a:endParaRPr lang="en-US"/>
        </a:p>
      </dgm:t>
    </dgm:pt>
    <dgm:pt modelId="{17F7DCED-BD83-4D62-B96E-C92C0CF9413B}" type="sibTrans" cxnId="{86CD528D-6169-41F0-94D7-33A8AADD417C}">
      <dgm:prSet/>
      <dgm:spPr/>
      <dgm:t>
        <a:bodyPr/>
        <a:lstStyle/>
        <a:p>
          <a:endParaRPr lang="en-US"/>
        </a:p>
      </dgm:t>
    </dgm:pt>
    <dgm:pt modelId="{50F33E80-C1C6-485C-B3E0-C7567E0F8D33}">
      <dgm:prSet/>
      <dgm:spPr/>
      <dgm:t>
        <a:bodyPr/>
        <a:lstStyle/>
        <a:p>
          <a:r>
            <a:rPr lang="en-US"/>
            <a:t>Recruitment and HR Analytics</a:t>
          </a:r>
        </a:p>
      </dgm:t>
    </dgm:pt>
    <dgm:pt modelId="{BF10E782-BDF7-4E9F-8476-F99B6C9078B0}" type="parTrans" cxnId="{F8C96AD1-49E9-452B-B55B-7E903279F069}">
      <dgm:prSet/>
      <dgm:spPr/>
      <dgm:t>
        <a:bodyPr/>
        <a:lstStyle/>
        <a:p>
          <a:endParaRPr lang="en-US"/>
        </a:p>
      </dgm:t>
    </dgm:pt>
    <dgm:pt modelId="{A93C5332-D6D3-43F6-8CBC-21B551DC4C04}" type="sibTrans" cxnId="{F8C96AD1-49E9-452B-B55B-7E903279F069}">
      <dgm:prSet/>
      <dgm:spPr/>
      <dgm:t>
        <a:bodyPr/>
        <a:lstStyle/>
        <a:p>
          <a:endParaRPr lang="en-US"/>
        </a:p>
      </dgm:t>
    </dgm:pt>
    <dgm:pt modelId="{C88A1D61-DC32-41EE-AA59-AB24079B95E8}">
      <dgm:prSet/>
      <dgm:spPr/>
      <dgm:t>
        <a:bodyPr/>
        <a:lstStyle/>
        <a:p>
          <a:r>
            <a:rPr lang="en-US"/>
            <a:t>Legal Contract Analysis and Automation</a:t>
          </a:r>
        </a:p>
      </dgm:t>
    </dgm:pt>
    <dgm:pt modelId="{9500CFA0-7070-4823-A2C3-B5F4AB06B9ED}" type="parTrans" cxnId="{8040CDE8-77D3-4E5B-A6BA-4090CA7BD892}">
      <dgm:prSet/>
      <dgm:spPr/>
      <dgm:t>
        <a:bodyPr/>
        <a:lstStyle/>
        <a:p>
          <a:endParaRPr lang="en-US"/>
        </a:p>
      </dgm:t>
    </dgm:pt>
    <dgm:pt modelId="{D1D21CDF-39BF-49AD-9786-D393F1ECD32C}" type="sibTrans" cxnId="{8040CDE8-77D3-4E5B-A6BA-4090CA7BD892}">
      <dgm:prSet/>
      <dgm:spPr/>
      <dgm:t>
        <a:bodyPr/>
        <a:lstStyle/>
        <a:p>
          <a:endParaRPr lang="en-US"/>
        </a:p>
      </dgm:t>
    </dgm:pt>
    <dgm:pt modelId="{E349607F-1332-4D8E-B1CB-385D11C611DE}">
      <dgm:prSet/>
      <dgm:spPr/>
      <dgm:t>
        <a:bodyPr/>
        <a:lstStyle/>
        <a:p>
          <a:r>
            <a:rPr lang="en-US"/>
            <a:t>Underwriting and risk assessment in Banking</a:t>
          </a:r>
        </a:p>
      </dgm:t>
    </dgm:pt>
    <dgm:pt modelId="{FBD34663-8DB2-40BE-9406-41ED5FBC113C}" type="parTrans" cxnId="{156B3D6E-4BAC-4121-85F6-531FEDF43F23}">
      <dgm:prSet/>
      <dgm:spPr/>
      <dgm:t>
        <a:bodyPr/>
        <a:lstStyle/>
        <a:p>
          <a:endParaRPr lang="en-US"/>
        </a:p>
      </dgm:t>
    </dgm:pt>
    <dgm:pt modelId="{91C9FD49-FB27-4DB0-8C39-158A16E70DD0}" type="sibTrans" cxnId="{156B3D6E-4BAC-4121-85F6-531FEDF43F23}">
      <dgm:prSet/>
      <dgm:spPr/>
      <dgm:t>
        <a:bodyPr/>
        <a:lstStyle/>
        <a:p>
          <a:endParaRPr lang="en-US"/>
        </a:p>
      </dgm:t>
    </dgm:pt>
    <dgm:pt modelId="{547A5D43-C70A-4917-923B-C99C1B43D347}">
      <dgm:prSet/>
      <dgm:spPr/>
      <dgm:t>
        <a:bodyPr/>
        <a:lstStyle/>
        <a:p>
          <a:r>
            <a:rPr lang="en-US"/>
            <a:t>Customer Engagement and Energy Conservation</a:t>
          </a:r>
        </a:p>
      </dgm:t>
    </dgm:pt>
    <dgm:pt modelId="{D5910303-17AC-43C7-B94E-84A517DA1C5C}" type="parTrans" cxnId="{BD48E996-466F-4503-B292-94D2D300DC56}">
      <dgm:prSet/>
      <dgm:spPr/>
      <dgm:t>
        <a:bodyPr/>
        <a:lstStyle/>
        <a:p>
          <a:endParaRPr lang="en-US"/>
        </a:p>
      </dgm:t>
    </dgm:pt>
    <dgm:pt modelId="{2DB07911-49E6-4899-8BA0-AA24BF4BCE41}" type="sibTrans" cxnId="{BD48E996-466F-4503-B292-94D2D300DC56}">
      <dgm:prSet/>
      <dgm:spPr/>
      <dgm:t>
        <a:bodyPr/>
        <a:lstStyle/>
        <a:p>
          <a:endParaRPr lang="en-US"/>
        </a:p>
      </dgm:t>
    </dgm:pt>
    <dgm:pt modelId="{631822F1-EB16-4660-AB61-011B4C9634D2}">
      <dgm:prSet/>
      <dgm:spPr/>
      <dgm:t>
        <a:bodyPr/>
        <a:lstStyle/>
        <a:p>
          <a:r>
            <a:rPr lang="en-US"/>
            <a:t>Report Mining in Oil and gas</a:t>
          </a:r>
        </a:p>
      </dgm:t>
    </dgm:pt>
    <dgm:pt modelId="{EEE0D709-C255-46AB-A6F8-16770AE0FEC3}" type="parTrans" cxnId="{21797FFB-9332-417A-998B-5F55473E6601}">
      <dgm:prSet/>
      <dgm:spPr/>
      <dgm:t>
        <a:bodyPr/>
        <a:lstStyle/>
        <a:p>
          <a:endParaRPr lang="en-US"/>
        </a:p>
      </dgm:t>
    </dgm:pt>
    <dgm:pt modelId="{B3230504-3213-409B-85F2-B97063EC0978}" type="sibTrans" cxnId="{21797FFB-9332-417A-998B-5F55473E6601}">
      <dgm:prSet/>
      <dgm:spPr/>
      <dgm:t>
        <a:bodyPr/>
        <a:lstStyle/>
        <a:p>
          <a:endParaRPr lang="en-US"/>
        </a:p>
      </dgm:t>
    </dgm:pt>
    <dgm:pt modelId="{221A5FAD-02E6-4D4B-B682-C03A1438214B}">
      <dgm:prSet/>
      <dgm:spPr/>
      <dgm:t>
        <a:bodyPr/>
        <a:lstStyle/>
        <a:p>
          <a:r>
            <a:rPr lang="en-US"/>
            <a:t>Reliability reporting </a:t>
          </a:r>
        </a:p>
      </dgm:t>
    </dgm:pt>
    <dgm:pt modelId="{04A5E73D-F23F-414F-968E-DD228F728D2A}" type="parTrans" cxnId="{A0B1D171-C5CE-4F70-9B88-0FD85C3E82CC}">
      <dgm:prSet/>
      <dgm:spPr/>
      <dgm:t>
        <a:bodyPr/>
        <a:lstStyle/>
        <a:p>
          <a:endParaRPr lang="en-US"/>
        </a:p>
      </dgm:t>
    </dgm:pt>
    <dgm:pt modelId="{55F6CA09-E2FB-4050-BE6E-C20E4D1D09E5}" type="sibTrans" cxnId="{A0B1D171-C5CE-4F70-9B88-0FD85C3E82CC}">
      <dgm:prSet/>
      <dgm:spPr/>
      <dgm:t>
        <a:bodyPr/>
        <a:lstStyle/>
        <a:p>
          <a:endParaRPr lang="en-US"/>
        </a:p>
      </dgm:t>
    </dgm:pt>
    <dgm:pt modelId="{B42BDC00-04B0-42E8-A9D5-187FF79E86E5}">
      <dgm:prSet/>
      <dgm:spPr/>
      <dgm:t>
        <a:bodyPr/>
        <a:lstStyle/>
        <a:p>
          <a:r>
            <a:rPr lang="en-US"/>
            <a:t>Chatbots and Virtual Assistants</a:t>
          </a:r>
        </a:p>
      </dgm:t>
    </dgm:pt>
    <dgm:pt modelId="{F0218A96-0E82-4ED6-9B92-84182C5475B2}" type="parTrans" cxnId="{F91D935A-B996-4491-AA25-D62DAADFBB0D}">
      <dgm:prSet/>
      <dgm:spPr/>
      <dgm:t>
        <a:bodyPr/>
        <a:lstStyle/>
        <a:p>
          <a:endParaRPr lang="en-US"/>
        </a:p>
      </dgm:t>
    </dgm:pt>
    <dgm:pt modelId="{648E1888-AE07-47F7-B473-3A60096AB02B}" type="sibTrans" cxnId="{F91D935A-B996-4491-AA25-D62DAADFBB0D}">
      <dgm:prSet/>
      <dgm:spPr/>
      <dgm:t>
        <a:bodyPr/>
        <a:lstStyle/>
        <a:p>
          <a:endParaRPr lang="en-US"/>
        </a:p>
      </dgm:t>
    </dgm:pt>
    <dgm:pt modelId="{EF1AA0B8-9526-40F8-9D0E-A59B11EEB257}">
      <dgm:prSet/>
      <dgm:spPr/>
      <dgm:t>
        <a:bodyPr/>
        <a:lstStyle/>
        <a:p>
          <a:r>
            <a:rPr lang="en-US" b="0"/>
            <a:t>Targeted Advertising</a:t>
          </a:r>
          <a:endParaRPr lang="en-US"/>
        </a:p>
      </dgm:t>
    </dgm:pt>
    <dgm:pt modelId="{66482F9D-9A2E-4E81-8C2C-28C0CB56CBA8}" type="parTrans" cxnId="{D35A73AC-1104-45A0-B292-47B6FE2DCDA5}">
      <dgm:prSet/>
      <dgm:spPr/>
      <dgm:t>
        <a:bodyPr/>
        <a:lstStyle/>
        <a:p>
          <a:endParaRPr lang="en-US"/>
        </a:p>
      </dgm:t>
    </dgm:pt>
    <dgm:pt modelId="{C24D2948-8861-482B-BFBB-458FA99395A8}" type="sibTrans" cxnId="{D35A73AC-1104-45A0-B292-47B6FE2DCDA5}">
      <dgm:prSet/>
      <dgm:spPr/>
      <dgm:t>
        <a:bodyPr/>
        <a:lstStyle/>
        <a:p>
          <a:endParaRPr lang="en-US"/>
        </a:p>
      </dgm:t>
    </dgm:pt>
    <dgm:pt modelId="{03FB6198-CF0E-46AF-8301-481052DE4E99}">
      <dgm:prSet/>
      <dgm:spPr/>
      <dgm:t>
        <a:bodyPr/>
        <a:lstStyle/>
        <a:p>
          <a:r>
            <a:rPr lang="en-US" b="0"/>
            <a:t>Speech and Speaker Recognition</a:t>
          </a:r>
          <a:endParaRPr lang="en-US"/>
        </a:p>
      </dgm:t>
    </dgm:pt>
    <dgm:pt modelId="{FCF1CF4C-08F7-47AE-BDAA-11F9D64C32A3}" type="parTrans" cxnId="{E4F9970A-AA6B-458D-A980-DF8836FCC581}">
      <dgm:prSet/>
      <dgm:spPr/>
      <dgm:t>
        <a:bodyPr/>
        <a:lstStyle/>
        <a:p>
          <a:endParaRPr lang="en-US"/>
        </a:p>
      </dgm:t>
    </dgm:pt>
    <dgm:pt modelId="{E3ECF136-8BB5-4BB4-92E4-53C9C3445CD7}" type="sibTrans" cxnId="{E4F9970A-AA6B-458D-A980-DF8836FCC581}">
      <dgm:prSet/>
      <dgm:spPr/>
      <dgm:t>
        <a:bodyPr/>
        <a:lstStyle/>
        <a:p>
          <a:endParaRPr lang="en-US"/>
        </a:p>
      </dgm:t>
    </dgm:pt>
    <dgm:pt modelId="{7F94CCB1-4348-4983-A27C-D6B8CB2DA798}" type="pres">
      <dgm:prSet presAssocID="{9BD57D85-32A0-4B82-B725-353A28DDE2CF}" presName="diagram" presStyleCnt="0">
        <dgm:presLayoutVars>
          <dgm:dir/>
          <dgm:resizeHandles val="exact"/>
        </dgm:presLayoutVars>
      </dgm:prSet>
      <dgm:spPr/>
    </dgm:pt>
    <dgm:pt modelId="{A712325F-7682-451E-9AA8-D7065790C2AE}" type="pres">
      <dgm:prSet presAssocID="{51037363-810B-4394-958C-248EB281D523}" presName="node" presStyleLbl="node1" presStyleIdx="0" presStyleCnt="13">
        <dgm:presLayoutVars>
          <dgm:bulletEnabled val="1"/>
        </dgm:presLayoutVars>
      </dgm:prSet>
      <dgm:spPr/>
    </dgm:pt>
    <dgm:pt modelId="{51F9A76D-6669-4F38-B666-B2FD46362728}" type="pres">
      <dgm:prSet presAssocID="{99C4A590-AE7E-45DC-99CA-F87BD8A69BEF}" presName="sibTrans" presStyleCnt="0"/>
      <dgm:spPr/>
    </dgm:pt>
    <dgm:pt modelId="{A1A59BB2-84A6-475C-B88B-5E6BCE273759}" type="pres">
      <dgm:prSet presAssocID="{50370AFB-7150-4641-A115-1DA5C10FB464}" presName="node" presStyleLbl="node1" presStyleIdx="1" presStyleCnt="13">
        <dgm:presLayoutVars>
          <dgm:bulletEnabled val="1"/>
        </dgm:presLayoutVars>
      </dgm:prSet>
      <dgm:spPr/>
    </dgm:pt>
    <dgm:pt modelId="{5BAE995F-4E04-42A8-8DA3-DB5C9A43C469}" type="pres">
      <dgm:prSet presAssocID="{84A420FC-3606-4A90-9092-53859FA29B19}" presName="sibTrans" presStyleCnt="0"/>
      <dgm:spPr/>
    </dgm:pt>
    <dgm:pt modelId="{993F04BC-C99F-44D4-A211-A80F7802B019}" type="pres">
      <dgm:prSet presAssocID="{518C710A-15E6-4FEB-8671-0EA85E80FCA4}" presName="node" presStyleLbl="node1" presStyleIdx="2" presStyleCnt="13">
        <dgm:presLayoutVars>
          <dgm:bulletEnabled val="1"/>
        </dgm:presLayoutVars>
      </dgm:prSet>
      <dgm:spPr/>
    </dgm:pt>
    <dgm:pt modelId="{E05E0389-F937-4680-B4FF-101CC1A5487C}" type="pres">
      <dgm:prSet presAssocID="{00F2374F-E929-4196-8A68-D9A7A39898F0}" presName="sibTrans" presStyleCnt="0"/>
      <dgm:spPr/>
    </dgm:pt>
    <dgm:pt modelId="{73EBBD00-C070-4AA5-84A7-4800CE43C549}" type="pres">
      <dgm:prSet presAssocID="{8E5CA834-F78E-4BD6-9064-F4D608F909C9}" presName="node" presStyleLbl="node1" presStyleIdx="3" presStyleCnt="13">
        <dgm:presLayoutVars>
          <dgm:bulletEnabled val="1"/>
        </dgm:presLayoutVars>
      </dgm:prSet>
      <dgm:spPr/>
    </dgm:pt>
    <dgm:pt modelId="{014D9E80-AD95-4CE4-97E4-0A385EABBE7E}" type="pres">
      <dgm:prSet presAssocID="{17F7DCED-BD83-4D62-B96E-C92C0CF9413B}" presName="sibTrans" presStyleCnt="0"/>
      <dgm:spPr/>
    </dgm:pt>
    <dgm:pt modelId="{12A87FCF-3EFA-4A3D-8177-5E3181CD853A}" type="pres">
      <dgm:prSet presAssocID="{50F33E80-C1C6-485C-B3E0-C7567E0F8D33}" presName="node" presStyleLbl="node1" presStyleIdx="4" presStyleCnt="13">
        <dgm:presLayoutVars>
          <dgm:bulletEnabled val="1"/>
        </dgm:presLayoutVars>
      </dgm:prSet>
      <dgm:spPr/>
    </dgm:pt>
    <dgm:pt modelId="{D209C5A9-96FA-49B5-9D8C-ECC31E0C1A1E}" type="pres">
      <dgm:prSet presAssocID="{A93C5332-D6D3-43F6-8CBC-21B551DC4C04}" presName="sibTrans" presStyleCnt="0"/>
      <dgm:spPr/>
    </dgm:pt>
    <dgm:pt modelId="{9442E7FB-E38A-4FEB-AFA8-F360052405EA}" type="pres">
      <dgm:prSet presAssocID="{C88A1D61-DC32-41EE-AA59-AB24079B95E8}" presName="node" presStyleLbl="node1" presStyleIdx="5" presStyleCnt="13">
        <dgm:presLayoutVars>
          <dgm:bulletEnabled val="1"/>
        </dgm:presLayoutVars>
      </dgm:prSet>
      <dgm:spPr/>
    </dgm:pt>
    <dgm:pt modelId="{B52EE8AE-01BB-4A4F-AA79-119572B416D1}" type="pres">
      <dgm:prSet presAssocID="{D1D21CDF-39BF-49AD-9786-D393F1ECD32C}" presName="sibTrans" presStyleCnt="0"/>
      <dgm:spPr/>
    </dgm:pt>
    <dgm:pt modelId="{314F68B6-DA72-45E1-A2D5-FB0BF65D6D4A}" type="pres">
      <dgm:prSet presAssocID="{E349607F-1332-4D8E-B1CB-385D11C611DE}" presName="node" presStyleLbl="node1" presStyleIdx="6" presStyleCnt="13">
        <dgm:presLayoutVars>
          <dgm:bulletEnabled val="1"/>
        </dgm:presLayoutVars>
      </dgm:prSet>
      <dgm:spPr/>
    </dgm:pt>
    <dgm:pt modelId="{C9687DF2-C46D-4A12-AC30-1E03B80FD531}" type="pres">
      <dgm:prSet presAssocID="{91C9FD49-FB27-4DB0-8C39-158A16E70DD0}" presName="sibTrans" presStyleCnt="0"/>
      <dgm:spPr/>
    </dgm:pt>
    <dgm:pt modelId="{4EDB3646-A872-47F1-8ABF-4116D7E088AB}" type="pres">
      <dgm:prSet presAssocID="{547A5D43-C70A-4917-923B-C99C1B43D347}" presName="node" presStyleLbl="node1" presStyleIdx="7" presStyleCnt="13">
        <dgm:presLayoutVars>
          <dgm:bulletEnabled val="1"/>
        </dgm:presLayoutVars>
      </dgm:prSet>
      <dgm:spPr/>
    </dgm:pt>
    <dgm:pt modelId="{8C1DB9B8-32D6-47F6-BB05-0CB23F93902C}" type="pres">
      <dgm:prSet presAssocID="{2DB07911-49E6-4899-8BA0-AA24BF4BCE41}" presName="sibTrans" presStyleCnt="0"/>
      <dgm:spPr/>
    </dgm:pt>
    <dgm:pt modelId="{0EB61502-8F40-4808-9DBF-D316D9C57CA5}" type="pres">
      <dgm:prSet presAssocID="{631822F1-EB16-4660-AB61-011B4C9634D2}" presName="node" presStyleLbl="node1" presStyleIdx="8" presStyleCnt="13">
        <dgm:presLayoutVars>
          <dgm:bulletEnabled val="1"/>
        </dgm:presLayoutVars>
      </dgm:prSet>
      <dgm:spPr/>
    </dgm:pt>
    <dgm:pt modelId="{4C51BAA5-A5ED-4171-9CA4-9B2F062DD8F4}" type="pres">
      <dgm:prSet presAssocID="{B3230504-3213-409B-85F2-B97063EC0978}" presName="sibTrans" presStyleCnt="0"/>
      <dgm:spPr/>
    </dgm:pt>
    <dgm:pt modelId="{52BE331F-01CB-484E-A338-10858639ACB3}" type="pres">
      <dgm:prSet presAssocID="{221A5FAD-02E6-4D4B-B682-C03A1438214B}" presName="node" presStyleLbl="node1" presStyleIdx="9" presStyleCnt="13">
        <dgm:presLayoutVars>
          <dgm:bulletEnabled val="1"/>
        </dgm:presLayoutVars>
      </dgm:prSet>
      <dgm:spPr/>
    </dgm:pt>
    <dgm:pt modelId="{8C292477-03BE-45BD-B695-65C93E0DB7BA}" type="pres">
      <dgm:prSet presAssocID="{55F6CA09-E2FB-4050-BE6E-C20E4D1D09E5}" presName="sibTrans" presStyleCnt="0"/>
      <dgm:spPr/>
    </dgm:pt>
    <dgm:pt modelId="{C6C86094-97CE-4BDB-A898-9D09630AA1B2}" type="pres">
      <dgm:prSet presAssocID="{B42BDC00-04B0-42E8-A9D5-187FF79E86E5}" presName="node" presStyleLbl="node1" presStyleIdx="10" presStyleCnt="13">
        <dgm:presLayoutVars>
          <dgm:bulletEnabled val="1"/>
        </dgm:presLayoutVars>
      </dgm:prSet>
      <dgm:spPr/>
    </dgm:pt>
    <dgm:pt modelId="{64596972-9EB2-4E40-8D86-C0B4CAAD1CA9}" type="pres">
      <dgm:prSet presAssocID="{648E1888-AE07-47F7-B473-3A60096AB02B}" presName="sibTrans" presStyleCnt="0"/>
      <dgm:spPr/>
    </dgm:pt>
    <dgm:pt modelId="{1FAB1CD9-4B83-4584-A19B-BB93FC7F2AAA}" type="pres">
      <dgm:prSet presAssocID="{EF1AA0B8-9526-40F8-9D0E-A59B11EEB257}" presName="node" presStyleLbl="node1" presStyleIdx="11" presStyleCnt="13">
        <dgm:presLayoutVars>
          <dgm:bulletEnabled val="1"/>
        </dgm:presLayoutVars>
      </dgm:prSet>
      <dgm:spPr/>
    </dgm:pt>
    <dgm:pt modelId="{A041BFD9-6A54-42F4-BAFD-51234D152965}" type="pres">
      <dgm:prSet presAssocID="{C24D2948-8861-482B-BFBB-458FA99395A8}" presName="sibTrans" presStyleCnt="0"/>
      <dgm:spPr/>
    </dgm:pt>
    <dgm:pt modelId="{DD438267-F6A6-449D-8040-AFBFF6248B31}" type="pres">
      <dgm:prSet presAssocID="{03FB6198-CF0E-46AF-8301-481052DE4E99}" presName="node" presStyleLbl="node1" presStyleIdx="12" presStyleCnt="13">
        <dgm:presLayoutVars>
          <dgm:bulletEnabled val="1"/>
        </dgm:presLayoutVars>
      </dgm:prSet>
      <dgm:spPr/>
    </dgm:pt>
  </dgm:ptLst>
  <dgm:cxnLst>
    <dgm:cxn modelId="{414C7E00-01BD-441C-AF6C-2A2885FB8CC1}" type="presOf" srcId="{631822F1-EB16-4660-AB61-011B4C9634D2}" destId="{0EB61502-8F40-4808-9DBF-D316D9C57CA5}" srcOrd="0" destOrd="0" presId="urn:microsoft.com/office/officeart/2005/8/layout/default"/>
    <dgm:cxn modelId="{F3902A03-6663-4AA5-B195-92C117436F6F}" srcId="{9BD57D85-32A0-4B82-B725-353A28DDE2CF}" destId="{50370AFB-7150-4641-A115-1DA5C10FB464}" srcOrd="1" destOrd="0" parTransId="{F359E764-CA74-4FCD-85A0-00CEB1FA6F82}" sibTransId="{84A420FC-3606-4A90-9092-53859FA29B19}"/>
    <dgm:cxn modelId="{E4F9970A-AA6B-458D-A980-DF8836FCC581}" srcId="{9BD57D85-32A0-4B82-B725-353A28DDE2CF}" destId="{03FB6198-CF0E-46AF-8301-481052DE4E99}" srcOrd="12" destOrd="0" parTransId="{FCF1CF4C-08F7-47AE-BDAA-11F9D64C32A3}" sibTransId="{E3ECF136-8BB5-4BB4-92E4-53C9C3445CD7}"/>
    <dgm:cxn modelId="{7B0D1C0B-24B8-49DB-9053-01D9C2E747BF}" type="presOf" srcId="{8E5CA834-F78E-4BD6-9064-F4D608F909C9}" destId="{73EBBD00-C070-4AA5-84A7-4800CE43C549}" srcOrd="0" destOrd="0" presId="urn:microsoft.com/office/officeart/2005/8/layout/default"/>
    <dgm:cxn modelId="{AD05BD19-2B56-48E3-803B-DB759B6339B0}" type="presOf" srcId="{51037363-810B-4394-958C-248EB281D523}" destId="{A712325F-7682-451E-9AA8-D7065790C2AE}" srcOrd="0" destOrd="0" presId="urn:microsoft.com/office/officeart/2005/8/layout/default"/>
    <dgm:cxn modelId="{D0370662-EECF-457C-8B74-7825BC16DF61}" type="presOf" srcId="{B42BDC00-04B0-42E8-A9D5-187FF79E86E5}" destId="{C6C86094-97CE-4BDB-A898-9D09630AA1B2}" srcOrd="0" destOrd="0" presId="urn:microsoft.com/office/officeart/2005/8/layout/default"/>
    <dgm:cxn modelId="{71914565-8B8C-4E90-9DFF-47C804E00EE8}" type="presOf" srcId="{50370AFB-7150-4641-A115-1DA5C10FB464}" destId="{A1A59BB2-84A6-475C-B88B-5E6BCE273759}" srcOrd="0" destOrd="0" presId="urn:microsoft.com/office/officeart/2005/8/layout/default"/>
    <dgm:cxn modelId="{02EDF366-B36A-449C-BD1D-6533026BC38C}" type="presOf" srcId="{50F33E80-C1C6-485C-B3E0-C7567E0F8D33}" destId="{12A87FCF-3EFA-4A3D-8177-5E3181CD853A}" srcOrd="0" destOrd="0" presId="urn:microsoft.com/office/officeart/2005/8/layout/default"/>
    <dgm:cxn modelId="{62D5A448-099B-469B-BB1E-68897F9D508D}" type="presOf" srcId="{EF1AA0B8-9526-40F8-9D0E-A59B11EEB257}" destId="{1FAB1CD9-4B83-4584-A19B-BB93FC7F2AAA}" srcOrd="0" destOrd="0" presId="urn:microsoft.com/office/officeart/2005/8/layout/default"/>
    <dgm:cxn modelId="{156B3D6E-4BAC-4121-85F6-531FEDF43F23}" srcId="{9BD57D85-32A0-4B82-B725-353A28DDE2CF}" destId="{E349607F-1332-4D8E-B1CB-385D11C611DE}" srcOrd="6" destOrd="0" parTransId="{FBD34663-8DB2-40BE-9406-41ED5FBC113C}" sibTransId="{91C9FD49-FB27-4DB0-8C39-158A16E70DD0}"/>
    <dgm:cxn modelId="{1321CD50-E732-48B4-A738-7B1B3962FC58}" type="presOf" srcId="{C88A1D61-DC32-41EE-AA59-AB24079B95E8}" destId="{9442E7FB-E38A-4FEB-AFA8-F360052405EA}" srcOrd="0" destOrd="0" presId="urn:microsoft.com/office/officeart/2005/8/layout/default"/>
    <dgm:cxn modelId="{A0B1D171-C5CE-4F70-9B88-0FD85C3E82CC}" srcId="{9BD57D85-32A0-4B82-B725-353A28DDE2CF}" destId="{221A5FAD-02E6-4D4B-B682-C03A1438214B}" srcOrd="9" destOrd="0" parTransId="{04A5E73D-F23F-414F-968E-DD228F728D2A}" sibTransId="{55F6CA09-E2FB-4050-BE6E-C20E4D1D09E5}"/>
    <dgm:cxn modelId="{F576E177-8424-41CA-B666-717A0FCB4A4F}" type="presOf" srcId="{E349607F-1332-4D8E-B1CB-385D11C611DE}" destId="{314F68B6-DA72-45E1-A2D5-FB0BF65D6D4A}" srcOrd="0" destOrd="0" presId="urn:microsoft.com/office/officeart/2005/8/layout/default"/>
    <dgm:cxn modelId="{86710E58-1A2C-43E3-AC26-66E650836073}" type="presOf" srcId="{9BD57D85-32A0-4B82-B725-353A28DDE2CF}" destId="{7F94CCB1-4348-4983-A27C-D6B8CB2DA798}" srcOrd="0" destOrd="0" presId="urn:microsoft.com/office/officeart/2005/8/layout/default"/>
    <dgm:cxn modelId="{5D0B7F59-18B0-4E41-93E3-F04D21F2E48B}" srcId="{9BD57D85-32A0-4B82-B725-353A28DDE2CF}" destId="{518C710A-15E6-4FEB-8671-0EA85E80FCA4}" srcOrd="2" destOrd="0" parTransId="{DD1F3FD5-87FC-4D35-9587-51C5E05D6BDF}" sibTransId="{00F2374F-E929-4196-8A68-D9A7A39898F0}"/>
    <dgm:cxn modelId="{F91D935A-B996-4491-AA25-D62DAADFBB0D}" srcId="{9BD57D85-32A0-4B82-B725-353A28DDE2CF}" destId="{B42BDC00-04B0-42E8-A9D5-187FF79E86E5}" srcOrd="10" destOrd="0" parTransId="{F0218A96-0E82-4ED6-9B92-84182C5475B2}" sibTransId="{648E1888-AE07-47F7-B473-3A60096AB02B}"/>
    <dgm:cxn modelId="{86CD528D-6169-41F0-94D7-33A8AADD417C}" srcId="{9BD57D85-32A0-4B82-B725-353A28DDE2CF}" destId="{8E5CA834-F78E-4BD6-9064-F4D608F909C9}" srcOrd="3" destOrd="0" parTransId="{6FC6ADE9-0657-4E94-B588-BE9BCE9BE992}" sibTransId="{17F7DCED-BD83-4D62-B96E-C92C0CF9413B}"/>
    <dgm:cxn modelId="{BD48E996-466F-4503-B292-94D2D300DC56}" srcId="{9BD57D85-32A0-4B82-B725-353A28DDE2CF}" destId="{547A5D43-C70A-4917-923B-C99C1B43D347}" srcOrd="7" destOrd="0" parTransId="{D5910303-17AC-43C7-B94E-84A517DA1C5C}" sibTransId="{2DB07911-49E6-4899-8BA0-AA24BF4BCE41}"/>
    <dgm:cxn modelId="{808342A5-DFE5-4BB4-A051-99A8EF5746C5}" type="presOf" srcId="{547A5D43-C70A-4917-923B-C99C1B43D347}" destId="{4EDB3646-A872-47F1-8ABF-4116D7E088AB}" srcOrd="0" destOrd="0" presId="urn:microsoft.com/office/officeart/2005/8/layout/default"/>
    <dgm:cxn modelId="{D35A73AC-1104-45A0-B292-47B6FE2DCDA5}" srcId="{9BD57D85-32A0-4B82-B725-353A28DDE2CF}" destId="{EF1AA0B8-9526-40F8-9D0E-A59B11EEB257}" srcOrd="11" destOrd="0" parTransId="{66482F9D-9A2E-4E81-8C2C-28C0CB56CBA8}" sibTransId="{C24D2948-8861-482B-BFBB-458FA99395A8}"/>
    <dgm:cxn modelId="{2B76EACC-7BFF-4410-A499-5D92F388D382}" type="presOf" srcId="{03FB6198-CF0E-46AF-8301-481052DE4E99}" destId="{DD438267-F6A6-449D-8040-AFBFF6248B31}" srcOrd="0" destOrd="0" presId="urn:microsoft.com/office/officeart/2005/8/layout/default"/>
    <dgm:cxn modelId="{F8C96AD1-49E9-452B-B55B-7E903279F069}" srcId="{9BD57D85-32A0-4B82-B725-353A28DDE2CF}" destId="{50F33E80-C1C6-485C-B3E0-C7567E0F8D33}" srcOrd="4" destOrd="0" parTransId="{BF10E782-BDF7-4E9F-8476-F99B6C9078B0}" sibTransId="{A93C5332-D6D3-43F6-8CBC-21B551DC4C04}"/>
    <dgm:cxn modelId="{BB2184D8-4120-4706-9616-21ED7680C7A2}" type="presOf" srcId="{221A5FAD-02E6-4D4B-B682-C03A1438214B}" destId="{52BE331F-01CB-484E-A338-10858639ACB3}" srcOrd="0" destOrd="0" presId="urn:microsoft.com/office/officeart/2005/8/layout/default"/>
    <dgm:cxn modelId="{8040CDE8-77D3-4E5B-A6BA-4090CA7BD892}" srcId="{9BD57D85-32A0-4B82-B725-353A28DDE2CF}" destId="{C88A1D61-DC32-41EE-AA59-AB24079B95E8}" srcOrd="5" destOrd="0" parTransId="{9500CFA0-7070-4823-A2C3-B5F4AB06B9ED}" sibTransId="{D1D21CDF-39BF-49AD-9786-D393F1ECD32C}"/>
    <dgm:cxn modelId="{164D2EE9-E50E-4176-953B-53EED17EC3E1}" type="presOf" srcId="{518C710A-15E6-4FEB-8671-0EA85E80FCA4}" destId="{993F04BC-C99F-44D4-A211-A80F7802B019}" srcOrd="0" destOrd="0" presId="urn:microsoft.com/office/officeart/2005/8/layout/default"/>
    <dgm:cxn modelId="{0BFA19F8-3120-4C45-93E2-8714A39FF898}" srcId="{9BD57D85-32A0-4B82-B725-353A28DDE2CF}" destId="{51037363-810B-4394-958C-248EB281D523}" srcOrd="0" destOrd="0" parTransId="{FF5B766E-1197-4D2E-B98C-97A82FF422E7}" sibTransId="{99C4A590-AE7E-45DC-99CA-F87BD8A69BEF}"/>
    <dgm:cxn modelId="{21797FFB-9332-417A-998B-5F55473E6601}" srcId="{9BD57D85-32A0-4B82-B725-353A28DDE2CF}" destId="{631822F1-EB16-4660-AB61-011B4C9634D2}" srcOrd="8" destOrd="0" parTransId="{EEE0D709-C255-46AB-A6F8-16770AE0FEC3}" sibTransId="{B3230504-3213-409B-85F2-B97063EC0978}"/>
    <dgm:cxn modelId="{D4C3B7CF-4A30-4451-86AC-D7872F36ACCA}" type="presParOf" srcId="{7F94CCB1-4348-4983-A27C-D6B8CB2DA798}" destId="{A712325F-7682-451E-9AA8-D7065790C2AE}" srcOrd="0" destOrd="0" presId="urn:microsoft.com/office/officeart/2005/8/layout/default"/>
    <dgm:cxn modelId="{C5CA59D3-0856-4298-A94F-FFBF19EF4586}" type="presParOf" srcId="{7F94CCB1-4348-4983-A27C-D6B8CB2DA798}" destId="{51F9A76D-6669-4F38-B666-B2FD46362728}" srcOrd="1" destOrd="0" presId="urn:microsoft.com/office/officeart/2005/8/layout/default"/>
    <dgm:cxn modelId="{0994F9C6-34CC-4005-A348-02C91FDEB63F}" type="presParOf" srcId="{7F94CCB1-4348-4983-A27C-D6B8CB2DA798}" destId="{A1A59BB2-84A6-475C-B88B-5E6BCE273759}" srcOrd="2" destOrd="0" presId="urn:microsoft.com/office/officeart/2005/8/layout/default"/>
    <dgm:cxn modelId="{8757BF65-8BD9-4E1B-9867-EB0CF26053ED}" type="presParOf" srcId="{7F94CCB1-4348-4983-A27C-D6B8CB2DA798}" destId="{5BAE995F-4E04-42A8-8DA3-DB5C9A43C469}" srcOrd="3" destOrd="0" presId="urn:microsoft.com/office/officeart/2005/8/layout/default"/>
    <dgm:cxn modelId="{FB42DCC1-C0C3-4C13-A802-1E005F63EEE2}" type="presParOf" srcId="{7F94CCB1-4348-4983-A27C-D6B8CB2DA798}" destId="{993F04BC-C99F-44D4-A211-A80F7802B019}" srcOrd="4" destOrd="0" presId="urn:microsoft.com/office/officeart/2005/8/layout/default"/>
    <dgm:cxn modelId="{2AA4C3F5-BAEB-407D-A7DE-3427E435DEC3}" type="presParOf" srcId="{7F94CCB1-4348-4983-A27C-D6B8CB2DA798}" destId="{E05E0389-F937-4680-B4FF-101CC1A5487C}" srcOrd="5" destOrd="0" presId="urn:microsoft.com/office/officeart/2005/8/layout/default"/>
    <dgm:cxn modelId="{B9FF6006-BE7C-49B7-AEB9-5EBC21C93A88}" type="presParOf" srcId="{7F94CCB1-4348-4983-A27C-D6B8CB2DA798}" destId="{73EBBD00-C070-4AA5-84A7-4800CE43C549}" srcOrd="6" destOrd="0" presId="urn:microsoft.com/office/officeart/2005/8/layout/default"/>
    <dgm:cxn modelId="{887AC617-3182-45D5-A5E3-E49FB799EBB4}" type="presParOf" srcId="{7F94CCB1-4348-4983-A27C-D6B8CB2DA798}" destId="{014D9E80-AD95-4CE4-97E4-0A385EABBE7E}" srcOrd="7" destOrd="0" presId="urn:microsoft.com/office/officeart/2005/8/layout/default"/>
    <dgm:cxn modelId="{85A00047-A8E8-492D-ACB6-98FA7DC8781E}" type="presParOf" srcId="{7F94CCB1-4348-4983-A27C-D6B8CB2DA798}" destId="{12A87FCF-3EFA-4A3D-8177-5E3181CD853A}" srcOrd="8" destOrd="0" presId="urn:microsoft.com/office/officeart/2005/8/layout/default"/>
    <dgm:cxn modelId="{B36D34DF-BDE3-4FA7-92A1-348F9F46C9D3}" type="presParOf" srcId="{7F94CCB1-4348-4983-A27C-D6B8CB2DA798}" destId="{D209C5A9-96FA-49B5-9D8C-ECC31E0C1A1E}" srcOrd="9" destOrd="0" presId="urn:microsoft.com/office/officeart/2005/8/layout/default"/>
    <dgm:cxn modelId="{781677DD-D820-43E4-8814-4197C9417594}" type="presParOf" srcId="{7F94CCB1-4348-4983-A27C-D6B8CB2DA798}" destId="{9442E7FB-E38A-4FEB-AFA8-F360052405EA}" srcOrd="10" destOrd="0" presId="urn:microsoft.com/office/officeart/2005/8/layout/default"/>
    <dgm:cxn modelId="{1E352627-C504-4AA0-A198-0213193F64C6}" type="presParOf" srcId="{7F94CCB1-4348-4983-A27C-D6B8CB2DA798}" destId="{B52EE8AE-01BB-4A4F-AA79-119572B416D1}" srcOrd="11" destOrd="0" presId="urn:microsoft.com/office/officeart/2005/8/layout/default"/>
    <dgm:cxn modelId="{DA734CE3-6E4F-4927-9162-0D3A0589FB63}" type="presParOf" srcId="{7F94CCB1-4348-4983-A27C-D6B8CB2DA798}" destId="{314F68B6-DA72-45E1-A2D5-FB0BF65D6D4A}" srcOrd="12" destOrd="0" presId="urn:microsoft.com/office/officeart/2005/8/layout/default"/>
    <dgm:cxn modelId="{AF2C790B-B7B8-4737-9B98-EFDB3D743551}" type="presParOf" srcId="{7F94CCB1-4348-4983-A27C-D6B8CB2DA798}" destId="{C9687DF2-C46D-4A12-AC30-1E03B80FD531}" srcOrd="13" destOrd="0" presId="urn:microsoft.com/office/officeart/2005/8/layout/default"/>
    <dgm:cxn modelId="{3A577BA3-D79F-44D4-B872-6F8BE23E7F03}" type="presParOf" srcId="{7F94CCB1-4348-4983-A27C-D6B8CB2DA798}" destId="{4EDB3646-A872-47F1-8ABF-4116D7E088AB}" srcOrd="14" destOrd="0" presId="urn:microsoft.com/office/officeart/2005/8/layout/default"/>
    <dgm:cxn modelId="{07101E7B-939A-490A-A39F-0E59DC190C6D}" type="presParOf" srcId="{7F94CCB1-4348-4983-A27C-D6B8CB2DA798}" destId="{8C1DB9B8-32D6-47F6-BB05-0CB23F93902C}" srcOrd="15" destOrd="0" presId="urn:microsoft.com/office/officeart/2005/8/layout/default"/>
    <dgm:cxn modelId="{E10FD281-57F4-48D4-88B8-A1A07FB24145}" type="presParOf" srcId="{7F94CCB1-4348-4983-A27C-D6B8CB2DA798}" destId="{0EB61502-8F40-4808-9DBF-D316D9C57CA5}" srcOrd="16" destOrd="0" presId="urn:microsoft.com/office/officeart/2005/8/layout/default"/>
    <dgm:cxn modelId="{D715AD00-1D9F-4711-B605-8DCB8D9968A1}" type="presParOf" srcId="{7F94CCB1-4348-4983-A27C-D6B8CB2DA798}" destId="{4C51BAA5-A5ED-4171-9CA4-9B2F062DD8F4}" srcOrd="17" destOrd="0" presId="urn:microsoft.com/office/officeart/2005/8/layout/default"/>
    <dgm:cxn modelId="{EB8D6D96-9F3A-475A-888D-BF69D38C6D4E}" type="presParOf" srcId="{7F94CCB1-4348-4983-A27C-D6B8CB2DA798}" destId="{52BE331F-01CB-484E-A338-10858639ACB3}" srcOrd="18" destOrd="0" presId="urn:microsoft.com/office/officeart/2005/8/layout/default"/>
    <dgm:cxn modelId="{9A8DF303-814F-4FBE-A480-7BABAF260ECC}" type="presParOf" srcId="{7F94CCB1-4348-4983-A27C-D6B8CB2DA798}" destId="{8C292477-03BE-45BD-B695-65C93E0DB7BA}" srcOrd="19" destOrd="0" presId="urn:microsoft.com/office/officeart/2005/8/layout/default"/>
    <dgm:cxn modelId="{9B574170-AC79-4538-AFEE-CD82D9B8C95F}" type="presParOf" srcId="{7F94CCB1-4348-4983-A27C-D6B8CB2DA798}" destId="{C6C86094-97CE-4BDB-A898-9D09630AA1B2}" srcOrd="20" destOrd="0" presId="urn:microsoft.com/office/officeart/2005/8/layout/default"/>
    <dgm:cxn modelId="{60F07553-5AE5-46DD-AABB-0B4D388E2288}" type="presParOf" srcId="{7F94CCB1-4348-4983-A27C-D6B8CB2DA798}" destId="{64596972-9EB2-4E40-8D86-C0B4CAAD1CA9}" srcOrd="21" destOrd="0" presId="urn:microsoft.com/office/officeart/2005/8/layout/default"/>
    <dgm:cxn modelId="{69FFE3C6-0FD9-4A08-BECD-4674933FA474}" type="presParOf" srcId="{7F94CCB1-4348-4983-A27C-D6B8CB2DA798}" destId="{1FAB1CD9-4B83-4584-A19B-BB93FC7F2AAA}" srcOrd="22" destOrd="0" presId="urn:microsoft.com/office/officeart/2005/8/layout/default"/>
    <dgm:cxn modelId="{78188B37-1B69-4BE3-B089-B4109858B80C}" type="presParOf" srcId="{7F94CCB1-4348-4983-A27C-D6B8CB2DA798}" destId="{A041BFD9-6A54-42F4-BAFD-51234D152965}" srcOrd="23" destOrd="0" presId="urn:microsoft.com/office/officeart/2005/8/layout/default"/>
    <dgm:cxn modelId="{21701BDC-9687-4E37-8A71-4B668BBADFB9}" type="presParOf" srcId="{7F94CCB1-4348-4983-A27C-D6B8CB2DA798}" destId="{DD438267-F6A6-449D-8040-AFBFF6248B31}" srcOrd="2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79E8BAB-E593-4B03-A7FE-5F4EC217DC2B}"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ACBB3E2D-3625-4D1C-AB87-F6E5FB0B51A5}">
      <dgm:prSet/>
      <dgm:spPr/>
      <dgm:t>
        <a:bodyPr/>
        <a:lstStyle/>
        <a:p>
          <a:r>
            <a:rPr lang="en-IN" b="1" i="0"/>
            <a:t>Ambiguity</a:t>
          </a:r>
          <a:endParaRPr lang="en-US"/>
        </a:p>
      </dgm:t>
    </dgm:pt>
    <dgm:pt modelId="{E5245A86-6058-41A5-9C1B-75D0C2F771EA}" type="parTrans" cxnId="{E2EB1C2B-C855-435C-945B-413F74BCE3C7}">
      <dgm:prSet/>
      <dgm:spPr/>
      <dgm:t>
        <a:bodyPr/>
        <a:lstStyle/>
        <a:p>
          <a:endParaRPr lang="en-US"/>
        </a:p>
      </dgm:t>
    </dgm:pt>
    <dgm:pt modelId="{993C919E-2488-4F5B-BF68-8EA7156D6BD4}" type="sibTrans" cxnId="{E2EB1C2B-C855-435C-945B-413F74BCE3C7}">
      <dgm:prSet/>
      <dgm:spPr/>
      <dgm:t>
        <a:bodyPr/>
        <a:lstStyle/>
        <a:p>
          <a:endParaRPr lang="en-US"/>
        </a:p>
      </dgm:t>
    </dgm:pt>
    <dgm:pt modelId="{6698EF2B-57EE-48CC-995F-A1C2BE1D6CA4}">
      <dgm:prSet/>
      <dgm:spPr/>
      <dgm:t>
        <a:bodyPr/>
        <a:lstStyle/>
        <a:p>
          <a:r>
            <a:rPr lang="en-IN" b="1" i="0"/>
            <a:t>Variability</a:t>
          </a:r>
          <a:endParaRPr lang="en-US"/>
        </a:p>
      </dgm:t>
    </dgm:pt>
    <dgm:pt modelId="{52922722-4EAE-4A56-B82C-B24D6A463701}" type="parTrans" cxnId="{1C049566-165C-40BC-A43B-A973888F47A1}">
      <dgm:prSet/>
      <dgm:spPr/>
      <dgm:t>
        <a:bodyPr/>
        <a:lstStyle/>
        <a:p>
          <a:endParaRPr lang="en-US"/>
        </a:p>
      </dgm:t>
    </dgm:pt>
    <dgm:pt modelId="{B1DBCF8B-2FB4-4D14-A57D-C48C12C0AFF4}" type="sibTrans" cxnId="{1C049566-165C-40BC-A43B-A973888F47A1}">
      <dgm:prSet/>
      <dgm:spPr/>
      <dgm:t>
        <a:bodyPr/>
        <a:lstStyle/>
        <a:p>
          <a:endParaRPr lang="en-US"/>
        </a:p>
      </dgm:t>
    </dgm:pt>
    <dgm:pt modelId="{469EA549-BD59-438F-85E3-087E2E830FA6}">
      <dgm:prSet/>
      <dgm:spPr/>
      <dgm:t>
        <a:bodyPr/>
        <a:lstStyle/>
        <a:p>
          <a:r>
            <a:rPr lang="en-IN" b="1" i="0"/>
            <a:t>Syntax and Grammar</a:t>
          </a:r>
          <a:endParaRPr lang="en-US"/>
        </a:p>
      </dgm:t>
    </dgm:pt>
    <dgm:pt modelId="{9351A12A-B5AC-4D69-8292-0B7979D788BC}" type="parTrans" cxnId="{877534EB-B643-4BA5-A0FF-F4E9916F4AD8}">
      <dgm:prSet/>
      <dgm:spPr/>
      <dgm:t>
        <a:bodyPr/>
        <a:lstStyle/>
        <a:p>
          <a:endParaRPr lang="en-US"/>
        </a:p>
      </dgm:t>
    </dgm:pt>
    <dgm:pt modelId="{5509931C-11D0-4C86-962A-A9E78F3C7415}" type="sibTrans" cxnId="{877534EB-B643-4BA5-A0FF-F4E9916F4AD8}">
      <dgm:prSet/>
      <dgm:spPr/>
      <dgm:t>
        <a:bodyPr/>
        <a:lstStyle/>
        <a:p>
          <a:endParaRPr lang="en-US"/>
        </a:p>
      </dgm:t>
    </dgm:pt>
    <dgm:pt modelId="{CE1AFDF6-D723-4050-8DFC-EC7FA5AD99ED}">
      <dgm:prSet/>
      <dgm:spPr/>
      <dgm:t>
        <a:bodyPr/>
        <a:lstStyle/>
        <a:p>
          <a:r>
            <a:rPr lang="en-IN" b="1" i="0"/>
            <a:t>Context Dependency</a:t>
          </a:r>
          <a:endParaRPr lang="en-US"/>
        </a:p>
      </dgm:t>
    </dgm:pt>
    <dgm:pt modelId="{B1E7776D-C6C6-4DC6-9746-6CD5CFCCD8D7}" type="parTrans" cxnId="{84BE6D94-8AD9-4462-932F-FED254C97D2F}">
      <dgm:prSet/>
      <dgm:spPr/>
      <dgm:t>
        <a:bodyPr/>
        <a:lstStyle/>
        <a:p>
          <a:endParaRPr lang="en-US"/>
        </a:p>
      </dgm:t>
    </dgm:pt>
    <dgm:pt modelId="{37873930-244E-43CF-9C68-014F2EB3D1D3}" type="sibTrans" cxnId="{84BE6D94-8AD9-4462-932F-FED254C97D2F}">
      <dgm:prSet/>
      <dgm:spPr/>
      <dgm:t>
        <a:bodyPr/>
        <a:lstStyle/>
        <a:p>
          <a:endParaRPr lang="en-US"/>
        </a:p>
      </dgm:t>
    </dgm:pt>
    <dgm:pt modelId="{54DB73A9-EF81-4FDF-8282-04D0910F58A3}">
      <dgm:prSet/>
      <dgm:spPr/>
      <dgm:t>
        <a:bodyPr/>
        <a:lstStyle/>
        <a:p>
          <a:r>
            <a:rPr lang="en-IN" b="1" i="0"/>
            <a:t>Lack of Data</a:t>
          </a:r>
          <a:endParaRPr lang="en-US"/>
        </a:p>
      </dgm:t>
    </dgm:pt>
    <dgm:pt modelId="{BA62E31B-F45D-4F5A-9B7A-04A3B7427C74}" type="parTrans" cxnId="{D4D3E629-70C0-448B-A3DE-FAF9F2F65946}">
      <dgm:prSet/>
      <dgm:spPr/>
      <dgm:t>
        <a:bodyPr/>
        <a:lstStyle/>
        <a:p>
          <a:endParaRPr lang="en-US"/>
        </a:p>
      </dgm:t>
    </dgm:pt>
    <dgm:pt modelId="{60A69107-3BFB-4E4D-9B30-F01B91A7B94D}" type="sibTrans" cxnId="{D4D3E629-70C0-448B-A3DE-FAF9F2F65946}">
      <dgm:prSet/>
      <dgm:spPr/>
      <dgm:t>
        <a:bodyPr/>
        <a:lstStyle/>
        <a:p>
          <a:endParaRPr lang="en-US"/>
        </a:p>
      </dgm:t>
    </dgm:pt>
    <dgm:pt modelId="{5D02874A-7742-4376-8C2D-928098599CE4}">
      <dgm:prSet/>
      <dgm:spPr/>
      <dgm:t>
        <a:bodyPr/>
        <a:lstStyle/>
        <a:p>
          <a:r>
            <a:rPr lang="en-IN" b="1" i="0"/>
            <a:t>Domain Specificity</a:t>
          </a:r>
          <a:endParaRPr lang="en-US"/>
        </a:p>
      </dgm:t>
    </dgm:pt>
    <dgm:pt modelId="{A8A8AF8D-E4E9-4608-8008-3845F62874AA}" type="parTrans" cxnId="{DC78F97F-BDA2-4B68-B621-58CFAEA55B19}">
      <dgm:prSet/>
      <dgm:spPr/>
      <dgm:t>
        <a:bodyPr/>
        <a:lstStyle/>
        <a:p>
          <a:endParaRPr lang="en-US"/>
        </a:p>
      </dgm:t>
    </dgm:pt>
    <dgm:pt modelId="{0ECC7995-AE68-4149-86B3-8A9220D79DCF}" type="sibTrans" cxnId="{DC78F97F-BDA2-4B68-B621-58CFAEA55B19}">
      <dgm:prSet/>
      <dgm:spPr/>
      <dgm:t>
        <a:bodyPr/>
        <a:lstStyle/>
        <a:p>
          <a:endParaRPr lang="en-US"/>
        </a:p>
      </dgm:t>
    </dgm:pt>
    <dgm:pt modelId="{4BFE77D3-A9C0-4C28-B689-0A3A2B202391}">
      <dgm:prSet/>
      <dgm:spPr/>
      <dgm:t>
        <a:bodyPr/>
        <a:lstStyle/>
        <a:p>
          <a:r>
            <a:rPr lang="en-IN" b="1" i="0"/>
            <a:t>Ethical and Bias Issues</a:t>
          </a:r>
          <a:endParaRPr lang="en-US"/>
        </a:p>
      </dgm:t>
    </dgm:pt>
    <dgm:pt modelId="{7F563FD7-B9DA-4E0C-ADC2-2AE9F82B91CE}" type="parTrans" cxnId="{E7FB4F1F-6E30-4FF3-9E04-C74CE167DEFB}">
      <dgm:prSet/>
      <dgm:spPr/>
      <dgm:t>
        <a:bodyPr/>
        <a:lstStyle/>
        <a:p>
          <a:endParaRPr lang="en-US"/>
        </a:p>
      </dgm:t>
    </dgm:pt>
    <dgm:pt modelId="{CB37D7F5-6132-4AB2-B8E0-EA58193E4F92}" type="sibTrans" cxnId="{E7FB4F1F-6E30-4FF3-9E04-C74CE167DEFB}">
      <dgm:prSet/>
      <dgm:spPr/>
      <dgm:t>
        <a:bodyPr/>
        <a:lstStyle/>
        <a:p>
          <a:endParaRPr lang="en-US"/>
        </a:p>
      </dgm:t>
    </dgm:pt>
    <dgm:pt modelId="{E866A779-FDF0-4A03-9E79-8847B319BD81}">
      <dgm:prSet/>
      <dgm:spPr/>
      <dgm:t>
        <a:bodyPr/>
        <a:lstStyle/>
        <a:p>
          <a:r>
            <a:rPr lang="en-IN" b="1" i="0"/>
            <a:t>Multimodality</a:t>
          </a:r>
          <a:endParaRPr lang="en-US"/>
        </a:p>
      </dgm:t>
    </dgm:pt>
    <dgm:pt modelId="{DE28A9FF-19D2-4594-8CA7-43A5944A8F2D}" type="parTrans" cxnId="{2FF307AA-40BB-4751-B0B8-9C7147F5BBF1}">
      <dgm:prSet/>
      <dgm:spPr/>
      <dgm:t>
        <a:bodyPr/>
        <a:lstStyle/>
        <a:p>
          <a:endParaRPr lang="en-US"/>
        </a:p>
      </dgm:t>
    </dgm:pt>
    <dgm:pt modelId="{607E3D53-3A62-412C-823E-A8B363E0DB90}" type="sibTrans" cxnId="{2FF307AA-40BB-4751-B0B8-9C7147F5BBF1}">
      <dgm:prSet/>
      <dgm:spPr/>
      <dgm:t>
        <a:bodyPr/>
        <a:lstStyle/>
        <a:p>
          <a:endParaRPr lang="en-US"/>
        </a:p>
      </dgm:t>
    </dgm:pt>
    <dgm:pt modelId="{592BEEAC-9EE3-4184-B213-AC18CA58289E}">
      <dgm:prSet/>
      <dgm:spPr/>
      <dgm:t>
        <a:bodyPr/>
        <a:lstStyle/>
        <a:p>
          <a:r>
            <a:rPr lang="en-IN" b="1" i="0"/>
            <a:t>Evaluation Metrics</a:t>
          </a:r>
          <a:endParaRPr lang="en-US"/>
        </a:p>
      </dgm:t>
    </dgm:pt>
    <dgm:pt modelId="{1BDF2959-2214-4EE4-98DE-C8CE1B872F08}" type="parTrans" cxnId="{3918C141-1D91-4D08-B7AA-3790D32FDF3C}">
      <dgm:prSet/>
      <dgm:spPr/>
      <dgm:t>
        <a:bodyPr/>
        <a:lstStyle/>
        <a:p>
          <a:endParaRPr lang="en-US"/>
        </a:p>
      </dgm:t>
    </dgm:pt>
    <dgm:pt modelId="{0B27BC48-F644-4876-BB10-7F4DC976F41E}" type="sibTrans" cxnId="{3918C141-1D91-4D08-B7AA-3790D32FDF3C}">
      <dgm:prSet/>
      <dgm:spPr/>
      <dgm:t>
        <a:bodyPr/>
        <a:lstStyle/>
        <a:p>
          <a:endParaRPr lang="en-US"/>
        </a:p>
      </dgm:t>
    </dgm:pt>
    <dgm:pt modelId="{21CA9533-C9A8-4D4F-BD1D-A2AB9237A8FF}" type="pres">
      <dgm:prSet presAssocID="{379E8BAB-E593-4B03-A7FE-5F4EC217DC2B}" presName="vert0" presStyleCnt="0">
        <dgm:presLayoutVars>
          <dgm:dir/>
          <dgm:animOne val="branch"/>
          <dgm:animLvl val="lvl"/>
        </dgm:presLayoutVars>
      </dgm:prSet>
      <dgm:spPr/>
    </dgm:pt>
    <dgm:pt modelId="{9C834339-E7C4-4BA0-ABC7-0A8981AD94B6}" type="pres">
      <dgm:prSet presAssocID="{ACBB3E2D-3625-4D1C-AB87-F6E5FB0B51A5}" presName="thickLine" presStyleLbl="alignNode1" presStyleIdx="0" presStyleCnt="9"/>
      <dgm:spPr/>
    </dgm:pt>
    <dgm:pt modelId="{8AC4A304-27F1-46B9-993C-2B8003BB5D9D}" type="pres">
      <dgm:prSet presAssocID="{ACBB3E2D-3625-4D1C-AB87-F6E5FB0B51A5}" presName="horz1" presStyleCnt="0"/>
      <dgm:spPr/>
    </dgm:pt>
    <dgm:pt modelId="{1FBE374B-BE25-4F28-8FF1-96A737B704F2}" type="pres">
      <dgm:prSet presAssocID="{ACBB3E2D-3625-4D1C-AB87-F6E5FB0B51A5}" presName="tx1" presStyleLbl="revTx" presStyleIdx="0" presStyleCnt="9"/>
      <dgm:spPr/>
    </dgm:pt>
    <dgm:pt modelId="{B71E46C1-6DE9-4177-B105-365FAA72FD9C}" type="pres">
      <dgm:prSet presAssocID="{ACBB3E2D-3625-4D1C-AB87-F6E5FB0B51A5}" presName="vert1" presStyleCnt="0"/>
      <dgm:spPr/>
    </dgm:pt>
    <dgm:pt modelId="{457355B9-AC72-4F23-8EBC-A147C05D7877}" type="pres">
      <dgm:prSet presAssocID="{6698EF2B-57EE-48CC-995F-A1C2BE1D6CA4}" presName="thickLine" presStyleLbl="alignNode1" presStyleIdx="1" presStyleCnt="9"/>
      <dgm:spPr/>
    </dgm:pt>
    <dgm:pt modelId="{D17BB89C-2C12-4A3E-BB33-23F8BAFBB665}" type="pres">
      <dgm:prSet presAssocID="{6698EF2B-57EE-48CC-995F-A1C2BE1D6CA4}" presName="horz1" presStyleCnt="0"/>
      <dgm:spPr/>
    </dgm:pt>
    <dgm:pt modelId="{7DBAA7BC-7DED-4884-AEC3-69ABEFB4B7EA}" type="pres">
      <dgm:prSet presAssocID="{6698EF2B-57EE-48CC-995F-A1C2BE1D6CA4}" presName="tx1" presStyleLbl="revTx" presStyleIdx="1" presStyleCnt="9"/>
      <dgm:spPr/>
    </dgm:pt>
    <dgm:pt modelId="{410B2B9E-47FE-4D1D-968A-63496C2C1D26}" type="pres">
      <dgm:prSet presAssocID="{6698EF2B-57EE-48CC-995F-A1C2BE1D6CA4}" presName="vert1" presStyleCnt="0"/>
      <dgm:spPr/>
    </dgm:pt>
    <dgm:pt modelId="{AD46C614-8392-4EF1-9196-ADA649A06E48}" type="pres">
      <dgm:prSet presAssocID="{469EA549-BD59-438F-85E3-087E2E830FA6}" presName="thickLine" presStyleLbl="alignNode1" presStyleIdx="2" presStyleCnt="9"/>
      <dgm:spPr/>
    </dgm:pt>
    <dgm:pt modelId="{0D8065AA-ABB5-4916-A744-6CF0BA770DA0}" type="pres">
      <dgm:prSet presAssocID="{469EA549-BD59-438F-85E3-087E2E830FA6}" presName="horz1" presStyleCnt="0"/>
      <dgm:spPr/>
    </dgm:pt>
    <dgm:pt modelId="{167FFDD8-1C4C-45EC-89FE-A9AF6D830991}" type="pres">
      <dgm:prSet presAssocID="{469EA549-BD59-438F-85E3-087E2E830FA6}" presName="tx1" presStyleLbl="revTx" presStyleIdx="2" presStyleCnt="9"/>
      <dgm:spPr/>
    </dgm:pt>
    <dgm:pt modelId="{7A33E79C-0E49-45A0-B9E7-A388EF191583}" type="pres">
      <dgm:prSet presAssocID="{469EA549-BD59-438F-85E3-087E2E830FA6}" presName="vert1" presStyleCnt="0"/>
      <dgm:spPr/>
    </dgm:pt>
    <dgm:pt modelId="{F22872A0-4DCF-4110-A2EB-D365BE357C71}" type="pres">
      <dgm:prSet presAssocID="{CE1AFDF6-D723-4050-8DFC-EC7FA5AD99ED}" presName="thickLine" presStyleLbl="alignNode1" presStyleIdx="3" presStyleCnt="9"/>
      <dgm:spPr/>
    </dgm:pt>
    <dgm:pt modelId="{3A052B03-4A1F-410E-A577-71A114493D71}" type="pres">
      <dgm:prSet presAssocID="{CE1AFDF6-D723-4050-8DFC-EC7FA5AD99ED}" presName="horz1" presStyleCnt="0"/>
      <dgm:spPr/>
    </dgm:pt>
    <dgm:pt modelId="{66B4F805-1368-471A-81C9-27FB15B6AE5E}" type="pres">
      <dgm:prSet presAssocID="{CE1AFDF6-D723-4050-8DFC-EC7FA5AD99ED}" presName="tx1" presStyleLbl="revTx" presStyleIdx="3" presStyleCnt="9"/>
      <dgm:spPr/>
    </dgm:pt>
    <dgm:pt modelId="{685BE342-A052-4CA1-88E3-BD2CAF347D22}" type="pres">
      <dgm:prSet presAssocID="{CE1AFDF6-D723-4050-8DFC-EC7FA5AD99ED}" presName="vert1" presStyleCnt="0"/>
      <dgm:spPr/>
    </dgm:pt>
    <dgm:pt modelId="{7DB76420-E26B-4A46-B034-37C5E4F86303}" type="pres">
      <dgm:prSet presAssocID="{54DB73A9-EF81-4FDF-8282-04D0910F58A3}" presName="thickLine" presStyleLbl="alignNode1" presStyleIdx="4" presStyleCnt="9"/>
      <dgm:spPr/>
    </dgm:pt>
    <dgm:pt modelId="{13C7D9E7-9ED2-48AF-AC21-98CE68770A25}" type="pres">
      <dgm:prSet presAssocID="{54DB73A9-EF81-4FDF-8282-04D0910F58A3}" presName="horz1" presStyleCnt="0"/>
      <dgm:spPr/>
    </dgm:pt>
    <dgm:pt modelId="{57606701-E4D4-4482-B2E9-69DC38CA4FC1}" type="pres">
      <dgm:prSet presAssocID="{54DB73A9-EF81-4FDF-8282-04D0910F58A3}" presName="tx1" presStyleLbl="revTx" presStyleIdx="4" presStyleCnt="9"/>
      <dgm:spPr/>
    </dgm:pt>
    <dgm:pt modelId="{6272C9E2-3882-40A2-BE5C-F24A40BBC9C2}" type="pres">
      <dgm:prSet presAssocID="{54DB73A9-EF81-4FDF-8282-04D0910F58A3}" presName="vert1" presStyleCnt="0"/>
      <dgm:spPr/>
    </dgm:pt>
    <dgm:pt modelId="{8BCD4B86-8D87-41EF-B3B6-D3980200938F}" type="pres">
      <dgm:prSet presAssocID="{5D02874A-7742-4376-8C2D-928098599CE4}" presName="thickLine" presStyleLbl="alignNode1" presStyleIdx="5" presStyleCnt="9"/>
      <dgm:spPr/>
    </dgm:pt>
    <dgm:pt modelId="{D16E6229-3606-4742-93D4-3D2F14F863E6}" type="pres">
      <dgm:prSet presAssocID="{5D02874A-7742-4376-8C2D-928098599CE4}" presName="horz1" presStyleCnt="0"/>
      <dgm:spPr/>
    </dgm:pt>
    <dgm:pt modelId="{46A86B64-52E6-47B4-8FD4-2D1560DFDF6B}" type="pres">
      <dgm:prSet presAssocID="{5D02874A-7742-4376-8C2D-928098599CE4}" presName="tx1" presStyleLbl="revTx" presStyleIdx="5" presStyleCnt="9"/>
      <dgm:spPr/>
    </dgm:pt>
    <dgm:pt modelId="{4903FB99-0955-4AC9-9C99-325CFAEE42FB}" type="pres">
      <dgm:prSet presAssocID="{5D02874A-7742-4376-8C2D-928098599CE4}" presName="vert1" presStyleCnt="0"/>
      <dgm:spPr/>
    </dgm:pt>
    <dgm:pt modelId="{043F855B-FA62-4FFC-A8E1-8B386E6BF582}" type="pres">
      <dgm:prSet presAssocID="{4BFE77D3-A9C0-4C28-B689-0A3A2B202391}" presName="thickLine" presStyleLbl="alignNode1" presStyleIdx="6" presStyleCnt="9"/>
      <dgm:spPr/>
    </dgm:pt>
    <dgm:pt modelId="{831B2976-3746-444E-9FD3-AA9213D1084E}" type="pres">
      <dgm:prSet presAssocID="{4BFE77D3-A9C0-4C28-B689-0A3A2B202391}" presName="horz1" presStyleCnt="0"/>
      <dgm:spPr/>
    </dgm:pt>
    <dgm:pt modelId="{A8BDEA7A-D404-4D4B-8D74-7EC8D1C4BD2F}" type="pres">
      <dgm:prSet presAssocID="{4BFE77D3-A9C0-4C28-B689-0A3A2B202391}" presName="tx1" presStyleLbl="revTx" presStyleIdx="6" presStyleCnt="9"/>
      <dgm:spPr/>
    </dgm:pt>
    <dgm:pt modelId="{9F63191A-1DA4-489E-845A-0FD9105B04F4}" type="pres">
      <dgm:prSet presAssocID="{4BFE77D3-A9C0-4C28-B689-0A3A2B202391}" presName="vert1" presStyleCnt="0"/>
      <dgm:spPr/>
    </dgm:pt>
    <dgm:pt modelId="{1E59517D-2D7D-490E-AF5C-786E56683A43}" type="pres">
      <dgm:prSet presAssocID="{E866A779-FDF0-4A03-9E79-8847B319BD81}" presName="thickLine" presStyleLbl="alignNode1" presStyleIdx="7" presStyleCnt="9"/>
      <dgm:spPr/>
    </dgm:pt>
    <dgm:pt modelId="{8230A8DB-48B5-4A4D-A67F-A3C4B5E5FEC7}" type="pres">
      <dgm:prSet presAssocID="{E866A779-FDF0-4A03-9E79-8847B319BD81}" presName="horz1" presStyleCnt="0"/>
      <dgm:spPr/>
    </dgm:pt>
    <dgm:pt modelId="{86C3110C-A822-4D92-91F3-CFE08A1E2256}" type="pres">
      <dgm:prSet presAssocID="{E866A779-FDF0-4A03-9E79-8847B319BD81}" presName="tx1" presStyleLbl="revTx" presStyleIdx="7" presStyleCnt="9"/>
      <dgm:spPr/>
    </dgm:pt>
    <dgm:pt modelId="{98001317-4CE2-4B0E-8BD1-327C40B4BD46}" type="pres">
      <dgm:prSet presAssocID="{E866A779-FDF0-4A03-9E79-8847B319BD81}" presName="vert1" presStyleCnt="0"/>
      <dgm:spPr/>
    </dgm:pt>
    <dgm:pt modelId="{A5F56858-7E0C-42E3-ACAC-8E11AC04619C}" type="pres">
      <dgm:prSet presAssocID="{592BEEAC-9EE3-4184-B213-AC18CA58289E}" presName="thickLine" presStyleLbl="alignNode1" presStyleIdx="8" presStyleCnt="9"/>
      <dgm:spPr/>
    </dgm:pt>
    <dgm:pt modelId="{5CEE4803-32C0-4D1C-9F09-D394E316F136}" type="pres">
      <dgm:prSet presAssocID="{592BEEAC-9EE3-4184-B213-AC18CA58289E}" presName="horz1" presStyleCnt="0"/>
      <dgm:spPr/>
    </dgm:pt>
    <dgm:pt modelId="{6A65C052-394C-4C69-9CCC-9A29C0ABFC27}" type="pres">
      <dgm:prSet presAssocID="{592BEEAC-9EE3-4184-B213-AC18CA58289E}" presName="tx1" presStyleLbl="revTx" presStyleIdx="8" presStyleCnt="9"/>
      <dgm:spPr/>
    </dgm:pt>
    <dgm:pt modelId="{2631AAC3-1863-4F61-8B71-F5BE92ABB797}" type="pres">
      <dgm:prSet presAssocID="{592BEEAC-9EE3-4184-B213-AC18CA58289E}" presName="vert1" presStyleCnt="0"/>
      <dgm:spPr/>
    </dgm:pt>
  </dgm:ptLst>
  <dgm:cxnLst>
    <dgm:cxn modelId="{E7FB4F1F-6E30-4FF3-9E04-C74CE167DEFB}" srcId="{379E8BAB-E593-4B03-A7FE-5F4EC217DC2B}" destId="{4BFE77D3-A9C0-4C28-B689-0A3A2B202391}" srcOrd="6" destOrd="0" parTransId="{7F563FD7-B9DA-4E0C-ADC2-2AE9F82B91CE}" sibTransId="{CB37D7F5-6132-4AB2-B8E0-EA58193E4F92}"/>
    <dgm:cxn modelId="{D4D3E629-70C0-448B-A3DE-FAF9F2F65946}" srcId="{379E8BAB-E593-4B03-A7FE-5F4EC217DC2B}" destId="{54DB73A9-EF81-4FDF-8282-04D0910F58A3}" srcOrd="4" destOrd="0" parTransId="{BA62E31B-F45D-4F5A-9B7A-04A3B7427C74}" sibTransId="{60A69107-3BFB-4E4D-9B30-F01B91A7B94D}"/>
    <dgm:cxn modelId="{E2EB1C2B-C855-435C-945B-413F74BCE3C7}" srcId="{379E8BAB-E593-4B03-A7FE-5F4EC217DC2B}" destId="{ACBB3E2D-3625-4D1C-AB87-F6E5FB0B51A5}" srcOrd="0" destOrd="0" parTransId="{E5245A86-6058-41A5-9C1B-75D0C2F771EA}" sibTransId="{993C919E-2488-4F5B-BF68-8EA7156D6BD4}"/>
    <dgm:cxn modelId="{50540D38-552D-47A1-BD24-C23DC1126BEC}" type="presOf" srcId="{4BFE77D3-A9C0-4C28-B689-0A3A2B202391}" destId="{A8BDEA7A-D404-4D4B-8D74-7EC8D1C4BD2F}" srcOrd="0" destOrd="0" presId="urn:microsoft.com/office/officeart/2008/layout/LinedList"/>
    <dgm:cxn modelId="{3918C141-1D91-4D08-B7AA-3790D32FDF3C}" srcId="{379E8BAB-E593-4B03-A7FE-5F4EC217DC2B}" destId="{592BEEAC-9EE3-4184-B213-AC18CA58289E}" srcOrd="8" destOrd="0" parTransId="{1BDF2959-2214-4EE4-98DE-C8CE1B872F08}" sibTransId="{0B27BC48-F644-4876-BB10-7F4DC976F41E}"/>
    <dgm:cxn modelId="{1C049566-165C-40BC-A43B-A973888F47A1}" srcId="{379E8BAB-E593-4B03-A7FE-5F4EC217DC2B}" destId="{6698EF2B-57EE-48CC-995F-A1C2BE1D6CA4}" srcOrd="1" destOrd="0" parTransId="{52922722-4EAE-4A56-B82C-B24D6A463701}" sibTransId="{B1DBCF8B-2FB4-4D14-A57D-C48C12C0AFF4}"/>
    <dgm:cxn modelId="{29318F48-6821-478E-B921-6B9D1C148430}" type="presOf" srcId="{6698EF2B-57EE-48CC-995F-A1C2BE1D6CA4}" destId="{7DBAA7BC-7DED-4884-AEC3-69ABEFB4B7EA}" srcOrd="0" destOrd="0" presId="urn:microsoft.com/office/officeart/2008/layout/LinedList"/>
    <dgm:cxn modelId="{39998D69-5226-4EDD-9926-9FCD5B36CA0F}" type="presOf" srcId="{E866A779-FDF0-4A03-9E79-8847B319BD81}" destId="{86C3110C-A822-4D92-91F3-CFE08A1E2256}" srcOrd="0" destOrd="0" presId="urn:microsoft.com/office/officeart/2008/layout/LinedList"/>
    <dgm:cxn modelId="{D95B7551-9253-4946-BB1E-6BD287FCE658}" type="presOf" srcId="{5D02874A-7742-4376-8C2D-928098599CE4}" destId="{46A86B64-52E6-47B4-8FD4-2D1560DFDF6B}" srcOrd="0" destOrd="0" presId="urn:microsoft.com/office/officeart/2008/layout/LinedList"/>
    <dgm:cxn modelId="{4BB6A777-2D7A-4A7A-952B-956F04AD1E7A}" type="presOf" srcId="{469EA549-BD59-438F-85E3-087E2E830FA6}" destId="{167FFDD8-1C4C-45EC-89FE-A9AF6D830991}" srcOrd="0" destOrd="0" presId="urn:microsoft.com/office/officeart/2008/layout/LinedList"/>
    <dgm:cxn modelId="{DC78F97F-BDA2-4B68-B621-58CFAEA55B19}" srcId="{379E8BAB-E593-4B03-A7FE-5F4EC217DC2B}" destId="{5D02874A-7742-4376-8C2D-928098599CE4}" srcOrd="5" destOrd="0" parTransId="{A8A8AF8D-E4E9-4608-8008-3845F62874AA}" sibTransId="{0ECC7995-AE68-4149-86B3-8A9220D79DCF}"/>
    <dgm:cxn modelId="{84BE6D94-8AD9-4462-932F-FED254C97D2F}" srcId="{379E8BAB-E593-4B03-A7FE-5F4EC217DC2B}" destId="{CE1AFDF6-D723-4050-8DFC-EC7FA5AD99ED}" srcOrd="3" destOrd="0" parTransId="{B1E7776D-C6C6-4DC6-9746-6CD5CFCCD8D7}" sibTransId="{37873930-244E-43CF-9C68-014F2EB3D1D3}"/>
    <dgm:cxn modelId="{2A4C9194-5B77-4D00-B985-D957AA229923}" type="presOf" srcId="{ACBB3E2D-3625-4D1C-AB87-F6E5FB0B51A5}" destId="{1FBE374B-BE25-4F28-8FF1-96A737B704F2}" srcOrd="0" destOrd="0" presId="urn:microsoft.com/office/officeart/2008/layout/LinedList"/>
    <dgm:cxn modelId="{831A4697-B113-489E-8E65-B0D393A30AC7}" type="presOf" srcId="{592BEEAC-9EE3-4184-B213-AC18CA58289E}" destId="{6A65C052-394C-4C69-9CCC-9A29C0ABFC27}" srcOrd="0" destOrd="0" presId="urn:microsoft.com/office/officeart/2008/layout/LinedList"/>
    <dgm:cxn modelId="{2FF307AA-40BB-4751-B0B8-9C7147F5BBF1}" srcId="{379E8BAB-E593-4B03-A7FE-5F4EC217DC2B}" destId="{E866A779-FDF0-4A03-9E79-8847B319BD81}" srcOrd="7" destOrd="0" parTransId="{DE28A9FF-19D2-4594-8CA7-43A5944A8F2D}" sibTransId="{607E3D53-3A62-412C-823E-A8B363E0DB90}"/>
    <dgm:cxn modelId="{3040B0B3-B86F-4900-A343-59D7A0F1A8C7}" type="presOf" srcId="{CE1AFDF6-D723-4050-8DFC-EC7FA5AD99ED}" destId="{66B4F805-1368-471A-81C9-27FB15B6AE5E}" srcOrd="0" destOrd="0" presId="urn:microsoft.com/office/officeart/2008/layout/LinedList"/>
    <dgm:cxn modelId="{69B0B7D8-E9FB-4743-AEAC-01ABC604CD93}" type="presOf" srcId="{54DB73A9-EF81-4FDF-8282-04D0910F58A3}" destId="{57606701-E4D4-4482-B2E9-69DC38CA4FC1}" srcOrd="0" destOrd="0" presId="urn:microsoft.com/office/officeart/2008/layout/LinedList"/>
    <dgm:cxn modelId="{877534EB-B643-4BA5-A0FF-F4E9916F4AD8}" srcId="{379E8BAB-E593-4B03-A7FE-5F4EC217DC2B}" destId="{469EA549-BD59-438F-85E3-087E2E830FA6}" srcOrd="2" destOrd="0" parTransId="{9351A12A-B5AC-4D69-8292-0B7979D788BC}" sibTransId="{5509931C-11D0-4C86-962A-A9E78F3C7415}"/>
    <dgm:cxn modelId="{DE6A7BF7-3708-475F-BA99-50E14BCA83F7}" type="presOf" srcId="{379E8BAB-E593-4B03-A7FE-5F4EC217DC2B}" destId="{21CA9533-C9A8-4D4F-BD1D-A2AB9237A8FF}" srcOrd="0" destOrd="0" presId="urn:microsoft.com/office/officeart/2008/layout/LinedList"/>
    <dgm:cxn modelId="{EEE703D9-0614-4039-B798-7E8FFA500FBC}" type="presParOf" srcId="{21CA9533-C9A8-4D4F-BD1D-A2AB9237A8FF}" destId="{9C834339-E7C4-4BA0-ABC7-0A8981AD94B6}" srcOrd="0" destOrd="0" presId="urn:microsoft.com/office/officeart/2008/layout/LinedList"/>
    <dgm:cxn modelId="{BF88A6BA-C346-435F-B2EB-D0DD93E80774}" type="presParOf" srcId="{21CA9533-C9A8-4D4F-BD1D-A2AB9237A8FF}" destId="{8AC4A304-27F1-46B9-993C-2B8003BB5D9D}" srcOrd="1" destOrd="0" presId="urn:microsoft.com/office/officeart/2008/layout/LinedList"/>
    <dgm:cxn modelId="{FA1CF32A-A650-46C1-9191-501582CB7CF3}" type="presParOf" srcId="{8AC4A304-27F1-46B9-993C-2B8003BB5D9D}" destId="{1FBE374B-BE25-4F28-8FF1-96A737B704F2}" srcOrd="0" destOrd="0" presId="urn:microsoft.com/office/officeart/2008/layout/LinedList"/>
    <dgm:cxn modelId="{58C0B7EE-BC53-4D17-806C-5C1D777097E0}" type="presParOf" srcId="{8AC4A304-27F1-46B9-993C-2B8003BB5D9D}" destId="{B71E46C1-6DE9-4177-B105-365FAA72FD9C}" srcOrd="1" destOrd="0" presId="urn:microsoft.com/office/officeart/2008/layout/LinedList"/>
    <dgm:cxn modelId="{20AF73E3-8980-4559-AB50-AA44DA855202}" type="presParOf" srcId="{21CA9533-C9A8-4D4F-BD1D-A2AB9237A8FF}" destId="{457355B9-AC72-4F23-8EBC-A147C05D7877}" srcOrd="2" destOrd="0" presId="urn:microsoft.com/office/officeart/2008/layout/LinedList"/>
    <dgm:cxn modelId="{89ADDA56-044C-4FB4-B8B3-1E87A70A96F2}" type="presParOf" srcId="{21CA9533-C9A8-4D4F-BD1D-A2AB9237A8FF}" destId="{D17BB89C-2C12-4A3E-BB33-23F8BAFBB665}" srcOrd="3" destOrd="0" presId="urn:microsoft.com/office/officeart/2008/layout/LinedList"/>
    <dgm:cxn modelId="{51DCE71E-448E-4301-867A-9637041A8258}" type="presParOf" srcId="{D17BB89C-2C12-4A3E-BB33-23F8BAFBB665}" destId="{7DBAA7BC-7DED-4884-AEC3-69ABEFB4B7EA}" srcOrd="0" destOrd="0" presId="urn:microsoft.com/office/officeart/2008/layout/LinedList"/>
    <dgm:cxn modelId="{8A4D5624-961A-4324-9423-E7EB8F0C5F6C}" type="presParOf" srcId="{D17BB89C-2C12-4A3E-BB33-23F8BAFBB665}" destId="{410B2B9E-47FE-4D1D-968A-63496C2C1D26}" srcOrd="1" destOrd="0" presId="urn:microsoft.com/office/officeart/2008/layout/LinedList"/>
    <dgm:cxn modelId="{6FD51AF1-1DD6-4859-8708-43DEAECA2DCA}" type="presParOf" srcId="{21CA9533-C9A8-4D4F-BD1D-A2AB9237A8FF}" destId="{AD46C614-8392-4EF1-9196-ADA649A06E48}" srcOrd="4" destOrd="0" presId="urn:microsoft.com/office/officeart/2008/layout/LinedList"/>
    <dgm:cxn modelId="{24CE5A52-EE20-40D8-8ADA-A7598340BD89}" type="presParOf" srcId="{21CA9533-C9A8-4D4F-BD1D-A2AB9237A8FF}" destId="{0D8065AA-ABB5-4916-A744-6CF0BA770DA0}" srcOrd="5" destOrd="0" presId="urn:microsoft.com/office/officeart/2008/layout/LinedList"/>
    <dgm:cxn modelId="{133574FB-6928-4959-9BBF-04E230CA0604}" type="presParOf" srcId="{0D8065AA-ABB5-4916-A744-6CF0BA770DA0}" destId="{167FFDD8-1C4C-45EC-89FE-A9AF6D830991}" srcOrd="0" destOrd="0" presId="urn:microsoft.com/office/officeart/2008/layout/LinedList"/>
    <dgm:cxn modelId="{30D01196-4867-4033-8829-336A94FC1352}" type="presParOf" srcId="{0D8065AA-ABB5-4916-A744-6CF0BA770DA0}" destId="{7A33E79C-0E49-45A0-B9E7-A388EF191583}" srcOrd="1" destOrd="0" presId="urn:microsoft.com/office/officeart/2008/layout/LinedList"/>
    <dgm:cxn modelId="{52E7AF13-44F8-4FD9-A0F7-E3F07AAB32B4}" type="presParOf" srcId="{21CA9533-C9A8-4D4F-BD1D-A2AB9237A8FF}" destId="{F22872A0-4DCF-4110-A2EB-D365BE357C71}" srcOrd="6" destOrd="0" presId="urn:microsoft.com/office/officeart/2008/layout/LinedList"/>
    <dgm:cxn modelId="{6AB72AD8-8838-4966-967C-8A8829377310}" type="presParOf" srcId="{21CA9533-C9A8-4D4F-BD1D-A2AB9237A8FF}" destId="{3A052B03-4A1F-410E-A577-71A114493D71}" srcOrd="7" destOrd="0" presId="urn:microsoft.com/office/officeart/2008/layout/LinedList"/>
    <dgm:cxn modelId="{67E1AA0C-7B50-4CDA-ABE1-C1A764411AA8}" type="presParOf" srcId="{3A052B03-4A1F-410E-A577-71A114493D71}" destId="{66B4F805-1368-471A-81C9-27FB15B6AE5E}" srcOrd="0" destOrd="0" presId="urn:microsoft.com/office/officeart/2008/layout/LinedList"/>
    <dgm:cxn modelId="{CD658BC4-7243-4533-815D-CB0B9B7213BD}" type="presParOf" srcId="{3A052B03-4A1F-410E-A577-71A114493D71}" destId="{685BE342-A052-4CA1-88E3-BD2CAF347D22}" srcOrd="1" destOrd="0" presId="urn:microsoft.com/office/officeart/2008/layout/LinedList"/>
    <dgm:cxn modelId="{7880166E-A3E1-4C31-9E96-5A69BC9CEA5F}" type="presParOf" srcId="{21CA9533-C9A8-4D4F-BD1D-A2AB9237A8FF}" destId="{7DB76420-E26B-4A46-B034-37C5E4F86303}" srcOrd="8" destOrd="0" presId="urn:microsoft.com/office/officeart/2008/layout/LinedList"/>
    <dgm:cxn modelId="{ADA38175-7F9B-458A-A9CA-CA046932755F}" type="presParOf" srcId="{21CA9533-C9A8-4D4F-BD1D-A2AB9237A8FF}" destId="{13C7D9E7-9ED2-48AF-AC21-98CE68770A25}" srcOrd="9" destOrd="0" presId="urn:microsoft.com/office/officeart/2008/layout/LinedList"/>
    <dgm:cxn modelId="{A566206C-FA4F-4647-BC04-A8AF72A91508}" type="presParOf" srcId="{13C7D9E7-9ED2-48AF-AC21-98CE68770A25}" destId="{57606701-E4D4-4482-B2E9-69DC38CA4FC1}" srcOrd="0" destOrd="0" presId="urn:microsoft.com/office/officeart/2008/layout/LinedList"/>
    <dgm:cxn modelId="{B83FF652-B198-4007-8652-382DF75D7DA4}" type="presParOf" srcId="{13C7D9E7-9ED2-48AF-AC21-98CE68770A25}" destId="{6272C9E2-3882-40A2-BE5C-F24A40BBC9C2}" srcOrd="1" destOrd="0" presId="urn:microsoft.com/office/officeart/2008/layout/LinedList"/>
    <dgm:cxn modelId="{1E94798E-34A5-4304-966A-DCED440E4223}" type="presParOf" srcId="{21CA9533-C9A8-4D4F-BD1D-A2AB9237A8FF}" destId="{8BCD4B86-8D87-41EF-B3B6-D3980200938F}" srcOrd="10" destOrd="0" presId="urn:microsoft.com/office/officeart/2008/layout/LinedList"/>
    <dgm:cxn modelId="{718F3A87-CA54-4F3B-A776-3C8C742090D6}" type="presParOf" srcId="{21CA9533-C9A8-4D4F-BD1D-A2AB9237A8FF}" destId="{D16E6229-3606-4742-93D4-3D2F14F863E6}" srcOrd="11" destOrd="0" presId="urn:microsoft.com/office/officeart/2008/layout/LinedList"/>
    <dgm:cxn modelId="{3BF2A17B-8ED3-410D-8CF4-A6FD6F54C41C}" type="presParOf" srcId="{D16E6229-3606-4742-93D4-3D2F14F863E6}" destId="{46A86B64-52E6-47B4-8FD4-2D1560DFDF6B}" srcOrd="0" destOrd="0" presId="urn:microsoft.com/office/officeart/2008/layout/LinedList"/>
    <dgm:cxn modelId="{7D1A4CCA-260E-449E-A382-7F63CC4F61A7}" type="presParOf" srcId="{D16E6229-3606-4742-93D4-3D2F14F863E6}" destId="{4903FB99-0955-4AC9-9C99-325CFAEE42FB}" srcOrd="1" destOrd="0" presId="urn:microsoft.com/office/officeart/2008/layout/LinedList"/>
    <dgm:cxn modelId="{9068F9FC-D328-4B5C-8633-7144DB2C8AFF}" type="presParOf" srcId="{21CA9533-C9A8-4D4F-BD1D-A2AB9237A8FF}" destId="{043F855B-FA62-4FFC-A8E1-8B386E6BF582}" srcOrd="12" destOrd="0" presId="urn:microsoft.com/office/officeart/2008/layout/LinedList"/>
    <dgm:cxn modelId="{64D2B7CD-F1F6-4AC1-9A66-9A4F0A7677C2}" type="presParOf" srcId="{21CA9533-C9A8-4D4F-BD1D-A2AB9237A8FF}" destId="{831B2976-3746-444E-9FD3-AA9213D1084E}" srcOrd="13" destOrd="0" presId="urn:microsoft.com/office/officeart/2008/layout/LinedList"/>
    <dgm:cxn modelId="{F2C85384-FC91-44E5-B4B9-B99ACB9AC3DE}" type="presParOf" srcId="{831B2976-3746-444E-9FD3-AA9213D1084E}" destId="{A8BDEA7A-D404-4D4B-8D74-7EC8D1C4BD2F}" srcOrd="0" destOrd="0" presId="urn:microsoft.com/office/officeart/2008/layout/LinedList"/>
    <dgm:cxn modelId="{CD9CA752-39A9-4535-A2B8-4FE75505780B}" type="presParOf" srcId="{831B2976-3746-444E-9FD3-AA9213D1084E}" destId="{9F63191A-1DA4-489E-845A-0FD9105B04F4}" srcOrd="1" destOrd="0" presId="urn:microsoft.com/office/officeart/2008/layout/LinedList"/>
    <dgm:cxn modelId="{9E19888C-9155-48CF-8D7A-BFC6CAAC7428}" type="presParOf" srcId="{21CA9533-C9A8-4D4F-BD1D-A2AB9237A8FF}" destId="{1E59517D-2D7D-490E-AF5C-786E56683A43}" srcOrd="14" destOrd="0" presId="urn:microsoft.com/office/officeart/2008/layout/LinedList"/>
    <dgm:cxn modelId="{70175D86-A258-4EB2-817E-7EB58D9BE4C1}" type="presParOf" srcId="{21CA9533-C9A8-4D4F-BD1D-A2AB9237A8FF}" destId="{8230A8DB-48B5-4A4D-A67F-A3C4B5E5FEC7}" srcOrd="15" destOrd="0" presId="urn:microsoft.com/office/officeart/2008/layout/LinedList"/>
    <dgm:cxn modelId="{618EB93A-3DA2-4D33-B14E-B4EE3599BB83}" type="presParOf" srcId="{8230A8DB-48B5-4A4D-A67F-A3C4B5E5FEC7}" destId="{86C3110C-A822-4D92-91F3-CFE08A1E2256}" srcOrd="0" destOrd="0" presId="urn:microsoft.com/office/officeart/2008/layout/LinedList"/>
    <dgm:cxn modelId="{21443CB8-E8FA-4F7A-8368-9FD50322B19D}" type="presParOf" srcId="{8230A8DB-48B5-4A4D-A67F-A3C4B5E5FEC7}" destId="{98001317-4CE2-4B0E-8BD1-327C40B4BD46}" srcOrd="1" destOrd="0" presId="urn:microsoft.com/office/officeart/2008/layout/LinedList"/>
    <dgm:cxn modelId="{A415B861-D185-4CA0-8C88-E9071581A518}" type="presParOf" srcId="{21CA9533-C9A8-4D4F-BD1D-A2AB9237A8FF}" destId="{A5F56858-7E0C-42E3-ACAC-8E11AC04619C}" srcOrd="16" destOrd="0" presId="urn:microsoft.com/office/officeart/2008/layout/LinedList"/>
    <dgm:cxn modelId="{BFF145C0-0A44-44E1-B9A1-B741E9EC3877}" type="presParOf" srcId="{21CA9533-C9A8-4D4F-BD1D-A2AB9237A8FF}" destId="{5CEE4803-32C0-4D1C-9F09-D394E316F136}" srcOrd="17" destOrd="0" presId="urn:microsoft.com/office/officeart/2008/layout/LinedList"/>
    <dgm:cxn modelId="{A9E54DC5-EAD6-4819-A6FD-012E8C1E9A22}" type="presParOf" srcId="{5CEE4803-32C0-4D1C-9F09-D394E316F136}" destId="{6A65C052-394C-4C69-9CCC-9A29C0ABFC27}" srcOrd="0" destOrd="0" presId="urn:microsoft.com/office/officeart/2008/layout/LinedList"/>
    <dgm:cxn modelId="{D20FBFE9-E978-403B-97E6-44C4A30BEB39}" type="presParOf" srcId="{5CEE4803-32C0-4D1C-9F09-D394E316F136}" destId="{2631AAC3-1863-4F61-8B71-F5BE92ABB79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6DE0A8A-F5E4-433B-ABE8-47E3AB0F46AC}" type="doc">
      <dgm:prSet loTypeId="urn:microsoft.com/office/officeart/2005/8/layout/pyramid2" loCatId="pyramid" qsTypeId="urn:microsoft.com/office/officeart/2005/8/quickstyle/3d2" qsCatId="3D" csTypeId="urn:microsoft.com/office/officeart/2005/8/colors/colorful3" csCatId="colorful" phldr="1"/>
      <dgm:spPr/>
    </dgm:pt>
    <dgm:pt modelId="{58FBAAA0-BE71-49BA-81F9-4D209D636F87}">
      <dgm:prSet phldrT="[Text]"/>
      <dgm:spPr/>
      <dgm:t>
        <a:bodyPr/>
        <a:lstStyle/>
        <a:p>
          <a:r>
            <a:rPr lang="en-US" dirty="0"/>
            <a:t>Lexical Knowledge</a:t>
          </a:r>
          <a:endParaRPr lang="en-IN" dirty="0"/>
        </a:p>
      </dgm:t>
    </dgm:pt>
    <dgm:pt modelId="{D6A7DB30-2D8E-43B4-8293-508A4D15005E}" type="parTrans" cxnId="{57316B8E-C715-4387-AA62-8F51363BD769}">
      <dgm:prSet/>
      <dgm:spPr/>
      <dgm:t>
        <a:bodyPr/>
        <a:lstStyle/>
        <a:p>
          <a:endParaRPr lang="en-IN"/>
        </a:p>
      </dgm:t>
    </dgm:pt>
    <dgm:pt modelId="{34EA18AA-8A41-4023-B900-96C9B077C38D}" type="sibTrans" cxnId="{57316B8E-C715-4387-AA62-8F51363BD769}">
      <dgm:prSet/>
      <dgm:spPr/>
      <dgm:t>
        <a:bodyPr/>
        <a:lstStyle/>
        <a:p>
          <a:endParaRPr lang="en-IN"/>
        </a:p>
      </dgm:t>
    </dgm:pt>
    <dgm:pt modelId="{2693D107-60EB-4CD3-BC2D-6E7A219E2755}">
      <dgm:prSet phldrT="[Text]"/>
      <dgm:spPr/>
      <dgm:t>
        <a:bodyPr/>
        <a:lstStyle/>
        <a:p>
          <a:r>
            <a:rPr lang="en-US" dirty="0"/>
            <a:t>Syntactic Knowledge</a:t>
          </a:r>
          <a:endParaRPr lang="en-IN" dirty="0"/>
        </a:p>
      </dgm:t>
    </dgm:pt>
    <dgm:pt modelId="{280190E9-55C2-44CE-AF3E-88470E0CF65F}" type="parTrans" cxnId="{8E4DAB5A-B420-4B64-8302-2FEF4AAACDA1}">
      <dgm:prSet/>
      <dgm:spPr/>
      <dgm:t>
        <a:bodyPr/>
        <a:lstStyle/>
        <a:p>
          <a:endParaRPr lang="en-IN"/>
        </a:p>
      </dgm:t>
    </dgm:pt>
    <dgm:pt modelId="{DDE8C655-49D3-4A45-8EF0-18D92462996A}" type="sibTrans" cxnId="{8E4DAB5A-B420-4B64-8302-2FEF4AAACDA1}">
      <dgm:prSet/>
      <dgm:spPr/>
      <dgm:t>
        <a:bodyPr/>
        <a:lstStyle/>
        <a:p>
          <a:endParaRPr lang="en-IN"/>
        </a:p>
      </dgm:t>
    </dgm:pt>
    <dgm:pt modelId="{6DDADC38-049A-4920-A51A-4C4019FAAEF8}">
      <dgm:prSet phldrT="[Text]"/>
      <dgm:spPr/>
      <dgm:t>
        <a:bodyPr/>
        <a:lstStyle/>
        <a:p>
          <a:r>
            <a:rPr lang="en-US" dirty="0"/>
            <a:t>Semantic Knowledge</a:t>
          </a:r>
          <a:endParaRPr lang="en-IN" dirty="0"/>
        </a:p>
      </dgm:t>
    </dgm:pt>
    <dgm:pt modelId="{F741E678-151F-4789-B546-53984222FE95}" type="parTrans" cxnId="{AA17BBB6-9CD3-43D2-8998-692438809C54}">
      <dgm:prSet/>
      <dgm:spPr/>
      <dgm:t>
        <a:bodyPr/>
        <a:lstStyle/>
        <a:p>
          <a:endParaRPr lang="en-IN"/>
        </a:p>
      </dgm:t>
    </dgm:pt>
    <dgm:pt modelId="{0FA08B1A-C08F-4AAB-8F24-0E695D8C08CD}" type="sibTrans" cxnId="{AA17BBB6-9CD3-43D2-8998-692438809C54}">
      <dgm:prSet/>
      <dgm:spPr/>
      <dgm:t>
        <a:bodyPr/>
        <a:lstStyle/>
        <a:p>
          <a:endParaRPr lang="en-IN"/>
        </a:p>
      </dgm:t>
    </dgm:pt>
    <dgm:pt modelId="{3761AD53-5B98-46EA-8BEF-DB1AE97B6795}">
      <dgm:prSet phldrT="[Text]"/>
      <dgm:spPr/>
      <dgm:t>
        <a:bodyPr/>
        <a:lstStyle/>
        <a:p>
          <a:r>
            <a:rPr lang="en-US" dirty="0"/>
            <a:t>Discourse Knowledge</a:t>
          </a:r>
          <a:endParaRPr lang="en-IN" dirty="0"/>
        </a:p>
      </dgm:t>
    </dgm:pt>
    <dgm:pt modelId="{F3E829A6-589F-42E1-914B-A3384AF291DC}" type="parTrans" cxnId="{C1EFE6E5-92AA-4F8F-9A3F-D594D269D0A0}">
      <dgm:prSet/>
      <dgm:spPr/>
      <dgm:t>
        <a:bodyPr/>
        <a:lstStyle/>
        <a:p>
          <a:endParaRPr lang="en-IN"/>
        </a:p>
      </dgm:t>
    </dgm:pt>
    <dgm:pt modelId="{AF9456DB-3D73-4255-BD8F-EC3CECF33AF8}" type="sibTrans" cxnId="{C1EFE6E5-92AA-4F8F-9A3F-D594D269D0A0}">
      <dgm:prSet/>
      <dgm:spPr/>
      <dgm:t>
        <a:bodyPr/>
        <a:lstStyle/>
        <a:p>
          <a:endParaRPr lang="en-IN"/>
        </a:p>
      </dgm:t>
    </dgm:pt>
    <dgm:pt modelId="{E882D07F-3019-4006-A598-50C1C24C4271}">
      <dgm:prSet phldrT="[Text]"/>
      <dgm:spPr/>
      <dgm:t>
        <a:bodyPr/>
        <a:lstStyle/>
        <a:p>
          <a:r>
            <a:rPr lang="en-US" dirty="0"/>
            <a:t>Pragmatic Knowledge</a:t>
          </a:r>
          <a:endParaRPr lang="en-IN" dirty="0"/>
        </a:p>
      </dgm:t>
    </dgm:pt>
    <dgm:pt modelId="{80D300CF-6AB6-460D-9DF8-CFF5F805BCF1}" type="parTrans" cxnId="{9BB6DE7F-097B-44CB-8E4B-891251C4E6C6}">
      <dgm:prSet/>
      <dgm:spPr/>
      <dgm:t>
        <a:bodyPr/>
        <a:lstStyle/>
        <a:p>
          <a:endParaRPr lang="en-IN"/>
        </a:p>
      </dgm:t>
    </dgm:pt>
    <dgm:pt modelId="{B8E1736D-7640-43DD-8105-3CF16AE1BAB0}" type="sibTrans" cxnId="{9BB6DE7F-097B-44CB-8E4B-891251C4E6C6}">
      <dgm:prSet/>
      <dgm:spPr/>
      <dgm:t>
        <a:bodyPr/>
        <a:lstStyle/>
        <a:p>
          <a:endParaRPr lang="en-IN"/>
        </a:p>
      </dgm:t>
    </dgm:pt>
    <dgm:pt modelId="{6FB453C7-E992-4781-A4FB-6F07E0261D84}" type="pres">
      <dgm:prSet presAssocID="{F6DE0A8A-F5E4-433B-ABE8-47E3AB0F46AC}" presName="compositeShape" presStyleCnt="0">
        <dgm:presLayoutVars>
          <dgm:dir/>
          <dgm:resizeHandles/>
        </dgm:presLayoutVars>
      </dgm:prSet>
      <dgm:spPr/>
    </dgm:pt>
    <dgm:pt modelId="{B3C211DC-1887-466F-8C64-11F63DD4275F}" type="pres">
      <dgm:prSet presAssocID="{F6DE0A8A-F5E4-433B-ABE8-47E3AB0F46AC}" presName="pyramid" presStyleLbl="node1" presStyleIdx="0" presStyleCnt="1"/>
      <dgm:spPr/>
    </dgm:pt>
    <dgm:pt modelId="{0AFC5F92-93A3-484E-9F8E-2D73BE0E65C8}" type="pres">
      <dgm:prSet presAssocID="{F6DE0A8A-F5E4-433B-ABE8-47E3AB0F46AC}" presName="theList" presStyleCnt="0"/>
      <dgm:spPr/>
    </dgm:pt>
    <dgm:pt modelId="{0206A849-A044-48E2-8980-964DA5530E06}" type="pres">
      <dgm:prSet presAssocID="{58FBAAA0-BE71-49BA-81F9-4D209D636F87}" presName="aNode" presStyleLbl="fgAcc1" presStyleIdx="0" presStyleCnt="5">
        <dgm:presLayoutVars>
          <dgm:bulletEnabled val="1"/>
        </dgm:presLayoutVars>
      </dgm:prSet>
      <dgm:spPr/>
    </dgm:pt>
    <dgm:pt modelId="{FC0195B8-4A42-43BC-9F36-8C3D2CA4FA4E}" type="pres">
      <dgm:prSet presAssocID="{58FBAAA0-BE71-49BA-81F9-4D209D636F87}" presName="aSpace" presStyleCnt="0"/>
      <dgm:spPr/>
    </dgm:pt>
    <dgm:pt modelId="{E387592B-5436-4B42-885C-FAA33F2B235D}" type="pres">
      <dgm:prSet presAssocID="{2693D107-60EB-4CD3-BC2D-6E7A219E2755}" presName="aNode" presStyleLbl="fgAcc1" presStyleIdx="1" presStyleCnt="5">
        <dgm:presLayoutVars>
          <dgm:bulletEnabled val="1"/>
        </dgm:presLayoutVars>
      </dgm:prSet>
      <dgm:spPr/>
    </dgm:pt>
    <dgm:pt modelId="{DFE43880-6EEA-4561-A388-5F8616A155F8}" type="pres">
      <dgm:prSet presAssocID="{2693D107-60EB-4CD3-BC2D-6E7A219E2755}" presName="aSpace" presStyleCnt="0"/>
      <dgm:spPr/>
    </dgm:pt>
    <dgm:pt modelId="{8C9245D9-45EC-47CC-8671-895E9615F989}" type="pres">
      <dgm:prSet presAssocID="{6DDADC38-049A-4920-A51A-4C4019FAAEF8}" presName="aNode" presStyleLbl="fgAcc1" presStyleIdx="2" presStyleCnt="5">
        <dgm:presLayoutVars>
          <dgm:bulletEnabled val="1"/>
        </dgm:presLayoutVars>
      </dgm:prSet>
      <dgm:spPr/>
    </dgm:pt>
    <dgm:pt modelId="{094DEA01-2F5D-4FCD-B9CE-A0186827F3BF}" type="pres">
      <dgm:prSet presAssocID="{6DDADC38-049A-4920-A51A-4C4019FAAEF8}" presName="aSpace" presStyleCnt="0"/>
      <dgm:spPr/>
    </dgm:pt>
    <dgm:pt modelId="{4378F484-8600-4B4B-ADC7-C86A1F79AF71}" type="pres">
      <dgm:prSet presAssocID="{3761AD53-5B98-46EA-8BEF-DB1AE97B6795}" presName="aNode" presStyleLbl="fgAcc1" presStyleIdx="3" presStyleCnt="5">
        <dgm:presLayoutVars>
          <dgm:bulletEnabled val="1"/>
        </dgm:presLayoutVars>
      </dgm:prSet>
      <dgm:spPr/>
    </dgm:pt>
    <dgm:pt modelId="{4B32D7BC-295C-4568-A278-1AD6CE482B3E}" type="pres">
      <dgm:prSet presAssocID="{3761AD53-5B98-46EA-8BEF-DB1AE97B6795}" presName="aSpace" presStyleCnt="0"/>
      <dgm:spPr/>
    </dgm:pt>
    <dgm:pt modelId="{42A3AB32-14E6-4175-B985-2186558A5C6A}" type="pres">
      <dgm:prSet presAssocID="{E882D07F-3019-4006-A598-50C1C24C4271}" presName="aNode" presStyleLbl="fgAcc1" presStyleIdx="4" presStyleCnt="5">
        <dgm:presLayoutVars>
          <dgm:bulletEnabled val="1"/>
        </dgm:presLayoutVars>
      </dgm:prSet>
      <dgm:spPr/>
    </dgm:pt>
    <dgm:pt modelId="{015F127A-376A-4617-99CA-B35EAC0BEA30}" type="pres">
      <dgm:prSet presAssocID="{E882D07F-3019-4006-A598-50C1C24C4271}" presName="aSpace" presStyleCnt="0"/>
      <dgm:spPr/>
    </dgm:pt>
  </dgm:ptLst>
  <dgm:cxnLst>
    <dgm:cxn modelId="{A8AB4215-6D0E-49B6-A315-1F0B10F47BB6}" type="presOf" srcId="{2693D107-60EB-4CD3-BC2D-6E7A219E2755}" destId="{E387592B-5436-4B42-885C-FAA33F2B235D}" srcOrd="0" destOrd="0" presId="urn:microsoft.com/office/officeart/2005/8/layout/pyramid2"/>
    <dgm:cxn modelId="{B210B727-C3BC-40FE-971A-46B70A9A3F85}" type="presOf" srcId="{E882D07F-3019-4006-A598-50C1C24C4271}" destId="{42A3AB32-14E6-4175-B985-2186558A5C6A}" srcOrd="0" destOrd="0" presId="urn:microsoft.com/office/officeart/2005/8/layout/pyramid2"/>
    <dgm:cxn modelId="{346CE465-90DC-4757-ABE6-56CBC9505788}" type="presOf" srcId="{F6DE0A8A-F5E4-433B-ABE8-47E3AB0F46AC}" destId="{6FB453C7-E992-4781-A4FB-6F07E0261D84}" srcOrd="0" destOrd="0" presId="urn:microsoft.com/office/officeart/2005/8/layout/pyramid2"/>
    <dgm:cxn modelId="{8E4DAB5A-B420-4B64-8302-2FEF4AAACDA1}" srcId="{F6DE0A8A-F5E4-433B-ABE8-47E3AB0F46AC}" destId="{2693D107-60EB-4CD3-BC2D-6E7A219E2755}" srcOrd="1" destOrd="0" parTransId="{280190E9-55C2-44CE-AF3E-88470E0CF65F}" sibTransId="{DDE8C655-49D3-4A45-8EF0-18D92462996A}"/>
    <dgm:cxn modelId="{30E64E7B-9A85-4898-ACC5-17DF861CE66D}" type="presOf" srcId="{3761AD53-5B98-46EA-8BEF-DB1AE97B6795}" destId="{4378F484-8600-4B4B-ADC7-C86A1F79AF71}" srcOrd="0" destOrd="0" presId="urn:microsoft.com/office/officeart/2005/8/layout/pyramid2"/>
    <dgm:cxn modelId="{9BB6DE7F-097B-44CB-8E4B-891251C4E6C6}" srcId="{F6DE0A8A-F5E4-433B-ABE8-47E3AB0F46AC}" destId="{E882D07F-3019-4006-A598-50C1C24C4271}" srcOrd="4" destOrd="0" parTransId="{80D300CF-6AB6-460D-9DF8-CFF5F805BCF1}" sibTransId="{B8E1736D-7640-43DD-8105-3CF16AE1BAB0}"/>
    <dgm:cxn modelId="{57316B8E-C715-4387-AA62-8F51363BD769}" srcId="{F6DE0A8A-F5E4-433B-ABE8-47E3AB0F46AC}" destId="{58FBAAA0-BE71-49BA-81F9-4D209D636F87}" srcOrd="0" destOrd="0" parTransId="{D6A7DB30-2D8E-43B4-8293-508A4D15005E}" sibTransId="{34EA18AA-8A41-4023-B900-96C9B077C38D}"/>
    <dgm:cxn modelId="{C413CDAF-684B-4314-85F6-3EA8ABF54EE3}" type="presOf" srcId="{58FBAAA0-BE71-49BA-81F9-4D209D636F87}" destId="{0206A849-A044-48E2-8980-964DA5530E06}" srcOrd="0" destOrd="0" presId="urn:microsoft.com/office/officeart/2005/8/layout/pyramid2"/>
    <dgm:cxn modelId="{AA17BBB6-9CD3-43D2-8998-692438809C54}" srcId="{F6DE0A8A-F5E4-433B-ABE8-47E3AB0F46AC}" destId="{6DDADC38-049A-4920-A51A-4C4019FAAEF8}" srcOrd="2" destOrd="0" parTransId="{F741E678-151F-4789-B546-53984222FE95}" sibTransId="{0FA08B1A-C08F-4AAB-8F24-0E695D8C08CD}"/>
    <dgm:cxn modelId="{69146FC4-9AE8-4C05-BEAF-88A925D171AC}" type="presOf" srcId="{6DDADC38-049A-4920-A51A-4C4019FAAEF8}" destId="{8C9245D9-45EC-47CC-8671-895E9615F989}" srcOrd="0" destOrd="0" presId="urn:microsoft.com/office/officeart/2005/8/layout/pyramid2"/>
    <dgm:cxn modelId="{C1EFE6E5-92AA-4F8F-9A3F-D594D269D0A0}" srcId="{F6DE0A8A-F5E4-433B-ABE8-47E3AB0F46AC}" destId="{3761AD53-5B98-46EA-8BEF-DB1AE97B6795}" srcOrd="3" destOrd="0" parTransId="{F3E829A6-589F-42E1-914B-A3384AF291DC}" sibTransId="{AF9456DB-3D73-4255-BD8F-EC3CECF33AF8}"/>
    <dgm:cxn modelId="{DB3C1ADE-7E36-4EE6-B9D2-AE79A36C084F}" type="presParOf" srcId="{6FB453C7-E992-4781-A4FB-6F07E0261D84}" destId="{B3C211DC-1887-466F-8C64-11F63DD4275F}" srcOrd="0" destOrd="0" presId="urn:microsoft.com/office/officeart/2005/8/layout/pyramid2"/>
    <dgm:cxn modelId="{5A1F48A9-28D4-44BC-99AE-0413A3D816B7}" type="presParOf" srcId="{6FB453C7-E992-4781-A4FB-6F07E0261D84}" destId="{0AFC5F92-93A3-484E-9F8E-2D73BE0E65C8}" srcOrd="1" destOrd="0" presId="urn:microsoft.com/office/officeart/2005/8/layout/pyramid2"/>
    <dgm:cxn modelId="{28A162C3-171D-46C3-A667-91885C602F21}" type="presParOf" srcId="{0AFC5F92-93A3-484E-9F8E-2D73BE0E65C8}" destId="{0206A849-A044-48E2-8980-964DA5530E06}" srcOrd="0" destOrd="0" presId="urn:microsoft.com/office/officeart/2005/8/layout/pyramid2"/>
    <dgm:cxn modelId="{29A2BBE0-AE02-48FB-BD46-A2957F4CAB04}" type="presParOf" srcId="{0AFC5F92-93A3-484E-9F8E-2D73BE0E65C8}" destId="{FC0195B8-4A42-43BC-9F36-8C3D2CA4FA4E}" srcOrd="1" destOrd="0" presId="urn:microsoft.com/office/officeart/2005/8/layout/pyramid2"/>
    <dgm:cxn modelId="{CC0F4913-197E-4DDD-8303-E551A52452E1}" type="presParOf" srcId="{0AFC5F92-93A3-484E-9F8E-2D73BE0E65C8}" destId="{E387592B-5436-4B42-885C-FAA33F2B235D}" srcOrd="2" destOrd="0" presId="urn:microsoft.com/office/officeart/2005/8/layout/pyramid2"/>
    <dgm:cxn modelId="{0CB8109D-53CD-4EE2-84F2-2FDBEA3C7C71}" type="presParOf" srcId="{0AFC5F92-93A3-484E-9F8E-2D73BE0E65C8}" destId="{DFE43880-6EEA-4561-A388-5F8616A155F8}" srcOrd="3" destOrd="0" presId="urn:microsoft.com/office/officeart/2005/8/layout/pyramid2"/>
    <dgm:cxn modelId="{6D4EDC0E-ED83-4C90-A2FB-60A72DF48A8F}" type="presParOf" srcId="{0AFC5F92-93A3-484E-9F8E-2D73BE0E65C8}" destId="{8C9245D9-45EC-47CC-8671-895E9615F989}" srcOrd="4" destOrd="0" presId="urn:microsoft.com/office/officeart/2005/8/layout/pyramid2"/>
    <dgm:cxn modelId="{1BA7729E-465E-4BD6-B56B-560CF6BAB9A3}" type="presParOf" srcId="{0AFC5F92-93A3-484E-9F8E-2D73BE0E65C8}" destId="{094DEA01-2F5D-4FCD-B9CE-A0186827F3BF}" srcOrd="5" destOrd="0" presId="urn:microsoft.com/office/officeart/2005/8/layout/pyramid2"/>
    <dgm:cxn modelId="{641AC189-9CBD-4DE6-A96B-8F3615A55852}" type="presParOf" srcId="{0AFC5F92-93A3-484E-9F8E-2D73BE0E65C8}" destId="{4378F484-8600-4B4B-ADC7-C86A1F79AF71}" srcOrd="6" destOrd="0" presId="urn:microsoft.com/office/officeart/2005/8/layout/pyramid2"/>
    <dgm:cxn modelId="{B26AF56F-1E04-4F05-9C61-FE942EBA6D24}" type="presParOf" srcId="{0AFC5F92-93A3-484E-9F8E-2D73BE0E65C8}" destId="{4B32D7BC-295C-4568-A278-1AD6CE482B3E}" srcOrd="7" destOrd="0" presId="urn:microsoft.com/office/officeart/2005/8/layout/pyramid2"/>
    <dgm:cxn modelId="{67C3E41D-B1FB-46A4-914B-94D60CB7862C}" type="presParOf" srcId="{0AFC5F92-93A3-484E-9F8E-2D73BE0E65C8}" destId="{42A3AB32-14E6-4175-B985-2186558A5C6A}" srcOrd="8" destOrd="0" presId="urn:microsoft.com/office/officeart/2005/8/layout/pyramid2"/>
    <dgm:cxn modelId="{1DADA134-291E-4377-BD22-6DED07353FB4}" type="presParOf" srcId="{0AFC5F92-93A3-484E-9F8E-2D73BE0E65C8}" destId="{015F127A-376A-4617-99CA-B35EAC0BEA30}" srcOrd="9"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55A92F2-0723-4949-90A3-22F091BE06E8}" type="doc">
      <dgm:prSet loTypeId="urn:microsoft.com/office/officeart/2005/8/layout/pyramid3" loCatId="pyramid" qsTypeId="urn:microsoft.com/office/officeart/2005/8/quickstyle/simple1" qsCatId="simple" csTypeId="urn:microsoft.com/office/officeart/2005/8/colors/accent3_3" csCatId="accent3" phldr="1"/>
      <dgm:spPr/>
    </dgm:pt>
    <dgm:pt modelId="{77E3AFCF-9119-4DF0-87B8-BFE9816B9F6B}">
      <dgm:prSet phldrT="[Text]"/>
      <dgm:spPr/>
      <dgm:t>
        <a:bodyPr/>
        <a:lstStyle/>
        <a:p>
          <a:r>
            <a:rPr lang="en-US" dirty="0"/>
            <a:t>Lexical Ambiguity</a:t>
          </a:r>
          <a:endParaRPr lang="en-IN" dirty="0"/>
        </a:p>
      </dgm:t>
    </dgm:pt>
    <dgm:pt modelId="{161C2BCD-D0FF-4E71-B0C4-16D0DE3CD259}" type="parTrans" cxnId="{BB1E87E3-5B07-4654-89B0-45775CF1EA6A}">
      <dgm:prSet/>
      <dgm:spPr/>
      <dgm:t>
        <a:bodyPr/>
        <a:lstStyle/>
        <a:p>
          <a:endParaRPr lang="en-IN"/>
        </a:p>
      </dgm:t>
    </dgm:pt>
    <dgm:pt modelId="{961753E2-7821-49D2-BD0A-D479BEFDCF7D}" type="sibTrans" cxnId="{BB1E87E3-5B07-4654-89B0-45775CF1EA6A}">
      <dgm:prSet/>
      <dgm:spPr/>
      <dgm:t>
        <a:bodyPr/>
        <a:lstStyle/>
        <a:p>
          <a:endParaRPr lang="en-IN"/>
        </a:p>
      </dgm:t>
    </dgm:pt>
    <dgm:pt modelId="{352C3B11-1DAD-4796-887D-12B78C9E6D87}">
      <dgm:prSet phldrT="[Text]"/>
      <dgm:spPr/>
      <dgm:t>
        <a:bodyPr/>
        <a:lstStyle/>
        <a:p>
          <a:r>
            <a:rPr lang="en-US" dirty="0"/>
            <a:t>Syntactic Ambiguity</a:t>
          </a:r>
          <a:endParaRPr lang="en-IN" dirty="0"/>
        </a:p>
      </dgm:t>
    </dgm:pt>
    <dgm:pt modelId="{52A3123E-9EF0-4870-A658-FB7E082A1753}" type="parTrans" cxnId="{4BB762DC-6987-462C-8C7E-58901FE3E022}">
      <dgm:prSet/>
      <dgm:spPr/>
      <dgm:t>
        <a:bodyPr/>
        <a:lstStyle/>
        <a:p>
          <a:endParaRPr lang="en-IN"/>
        </a:p>
      </dgm:t>
    </dgm:pt>
    <dgm:pt modelId="{6B231BE6-D83A-4856-BE26-C84FFA885D30}" type="sibTrans" cxnId="{4BB762DC-6987-462C-8C7E-58901FE3E022}">
      <dgm:prSet/>
      <dgm:spPr/>
      <dgm:t>
        <a:bodyPr/>
        <a:lstStyle/>
        <a:p>
          <a:endParaRPr lang="en-IN"/>
        </a:p>
      </dgm:t>
    </dgm:pt>
    <dgm:pt modelId="{5E51E838-C5E4-4F93-AC49-32A1A682F1F9}">
      <dgm:prSet phldrT="[Text]"/>
      <dgm:spPr/>
      <dgm:t>
        <a:bodyPr/>
        <a:lstStyle/>
        <a:p>
          <a:r>
            <a:rPr lang="en-US" dirty="0"/>
            <a:t>Semantic Ambiguity</a:t>
          </a:r>
          <a:endParaRPr lang="en-IN" dirty="0"/>
        </a:p>
      </dgm:t>
    </dgm:pt>
    <dgm:pt modelId="{C0EF18AF-CBE0-476D-83CC-659AE6F10413}" type="parTrans" cxnId="{473F4836-2FA1-49F8-AEE8-69B759E1F3B8}">
      <dgm:prSet/>
      <dgm:spPr/>
      <dgm:t>
        <a:bodyPr/>
        <a:lstStyle/>
        <a:p>
          <a:endParaRPr lang="en-IN"/>
        </a:p>
      </dgm:t>
    </dgm:pt>
    <dgm:pt modelId="{780C01B7-B3B9-4EDF-BE86-3AC132D96E3A}" type="sibTrans" cxnId="{473F4836-2FA1-49F8-AEE8-69B759E1F3B8}">
      <dgm:prSet/>
      <dgm:spPr/>
      <dgm:t>
        <a:bodyPr/>
        <a:lstStyle/>
        <a:p>
          <a:endParaRPr lang="en-IN"/>
        </a:p>
      </dgm:t>
    </dgm:pt>
    <dgm:pt modelId="{D56843EF-5428-4339-B084-FB0E87CAFA2E}">
      <dgm:prSet phldrT="[Text]"/>
      <dgm:spPr/>
      <dgm:t>
        <a:bodyPr/>
        <a:lstStyle/>
        <a:p>
          <a:r>
            <a:rPr lang="en-US" dirty="0"/>
            <a:t>Anaphoric Ambiguity</a:t>
          </a:r>
          <a:endParaRPr lang="en-IN" dirty="0"/>
        </a:p>
      </dgm:t>
    </dgm:pt>
    <dgm:pt modelId="{9A6A1088-980D-4D1A-A4CB-C20A590A8EAC}" type="parTrans" cxnId="{B70889F7-7E69-48E4-B29C-F884E76D412C}">
      <dgm:prSet/>
      <dgm:spPr/>
      <dgm:t>
        <a:bodyPr/>
        <a:lstStyle/>
        <a:p>
          <a:endParaRPr lang="en-IN"/>
        </a:p>
      </dgm:t>
    </dgm:pt>
    <dgm:pt modelId="{7D889C88-E766-4A1F-945E-22B1AE90ACAD}" type="sibTrans" cxnId="{B70889F7-7E69-48E4-B29C-F884E76D412C}">
      <dgm:prSet/>
      <dgm:spPr/>
      <dgm:t>
        <a:bodyPr/>
        <a:lstStyle/>
        <a:p>
          <a:endParaRPr lang="en-IN"/>
        </a:p>
      </dgm:t>
    </dgm:pt>
    <dgm:pt modelId="{8BF308C6-AFC2-4B02-8743-4AAB83B4337E}">
      <dgm:prSet phldrT="[Text]"/>
      <dgm:spPr/>
      <dgm:t>
        <a:bodyPr/>
        <a:lstStyle/>
        <a:p>
          <a:r>
            <a:rPr lang="en-US" dirty="0"/>
            <a:t>Pragmatic Ambiguity</a:t>
          </a:r>
          <a:endParaRPr lang="en-IN" dirty="0"/>
        </a:p>
      </dgm:t>
    </dgm:pt>
    <dgm:pt modelId="{56AE2772-259D-448E-9C66-E297ED7E3E7D}" type="parTrans" cxnId="{9FC41C6D-CB51-40AB-AEB4-1CE32AEED76C}">
      <dgm:prSet/>
      <dgm:spPr/>
      <dgm:t>
        <a:bodyPr/>
        <a:lstStyle/>
        <a:p>
          <a:endParaRPr lang="en-IN"/>
        </a:p>
      </dgm:t>
    </dgm:pt>
    <dgm:pt modelId="{0D94E92E-7608-4CE4-B98D-359C1F541014}" type="sibTrans" cxnId="{9FC41C6D-CB51-40AB-AEB4-1CE32AEED76C}">
      <dgm:prSet/>
      <dgm:spPr/>
      <dgm:t>
        <a:bodyPr/>
        <a:lstStyle/>
        <a:p>
          <a:endParaRPr lang="en-IN"/>
        </a:p>
      </dgm:t>
    </dgm:pt>
    <dgm:pt modelId="{D9B88D8D-1CEE-403A-BC76-650E8FA14F1C}" type="pres">
      <dgm:prSet presAssocID="{955A92F2-0723-4949-90A3-22F091BE06E8}" presName="Name0" presStyleCnt="0">
        <dgm:presLayoutVars>
          <dgm:dir/>
          <dgm:animLvl val="lvl"/>
          <dgm:resizeHandles val="exact"/>
        </dgm:presLayoutVars>
      </dgm:prSet>
      <dgm:spPr/>
    </dgm:pt>
    <dgm:pt modelId="{0B461C9B-0CC5-470C-8599-F50D438B810A}" type="pres">
      <dgm:prSet presAssocID="{77E3AFCF-9119-4DF0-87B8-BFE9816B9F6B}" presName="Name8" presStyleCnt="0"/>
      <dgm:spPr/>
    </dgm:pt>
    <dgm:pt modelId="{DF88ADA0-D5ED-41EA-B6EB-74480BBEB776}" type="pres">
      <dgm:prSet presAssocID="{77E3AFCF-9119-4DF0-87B8-BFE9816B9F6B}" presName="level" presStyleLbl="node1" presStyleIdx="0" presStyleCnt="5">
        <dgm:presLayoutVars>
          <dgm:chMax val="1"/>
          <dgm:bulletEnabled val="1"/>
        </dgm:presLayoutVars>
      </dgm:prSet>
      <dgm:spPr/>
    </dgm:pt>
    <dgm:pt modelId="{AC2FF48C-42E0-46C5-98F8-8521250152E9}" type="pres">
      <dgm:prSet presAssocID="{77E3AFCF-9119-4DF0-87B8-BFE9816B9F6B}" presName="levelTx" presStyleLbl="revTx" presStyleIdx="0" presStyleCnt="0">
        <dgm:presLayoutVars>
          <dgm:chMax val="1"/>
          <dgm:bulletEnabled val="1"/>
        </dgm:presLayoutVars>
      </dgm:prSet>
      <dgm:spPr/>
    </dgm:pt>
    <dgm:pt modelId="{AB65CF63-9104-4AE8-9D4E-CA0CB6AB2FB2}" type="pres">
      <dgm:prSet presAssocID="{352C3B11-1DAD-4796-887D-12B78C9E6D87}" presName="Name8" presStyleCnt="0"/>
      <dgm:spPr/>
    </dgm:pt>
    <dgm:pt modelId="{3A8F4640-B692-484B-A8C5-555310E6FB91}" type="pres">
      <dgm:prSet presAssocID="{352C3B11-1DAD-4796-887D-12B78C9E6D87}" presName="level" presStyleLbl="node1" presStyleIdx="1" presStyleCnt="5">
        <dgm:presLayoutVars>
          <dgm:chMax val="1"/>
          <dgm:bulletEnabled val="1"/>
        </dgm:presLayoutVars>
      </dgm:prSet>
      <dgm:spPr/>
    </dgm:pt>
    <dgm:pt modelId="{D70A65C0-FD52-4E55-AF52-1664D3930553}" type="pres">
      <dgm:prSet presAssocID="{352C3B11-1DAD-4796-887D-12B78C9E6D87}" presName="levelTx" presStyleLbl="revTx" presStyleIdx="0" presStyleCnt="0">
        <dgm:presLayoutVars>
          <dgm:chMax val="1"/>
          <dgm:bulletEnabled val="1"/>
        </dgm:presLayoutVars>
      </dgm:prSet>
      <dgm:spPr/>
    </dgm:pt>
    <dgm:pt modelId="{9EB8F085-7F43-4564-92B7-4E6DCDF8AE19}" type="pres">
      <dgm:prSet presAssocID="{5E51E838-C5E4-4F93-AC49-32A1A682F1F9}" presName="Name8" presStyleCnt="0"/>
      <dgm:spPr/>
    </dgm:pt>
    <dgm:pt modelId="{FF66E1E6-B44B-49A6-8695-575EDF6D52C3}" type="pres">
      <dgm:prSet presAssocID="{5E51E838-C5E4-4F93-AC49-32A1A682F1F9}" presName="level" presStyleLbl="node1" presStyleIdx="2" presStyleCnt="5">
        <dgm:presLayoutVars>
          <dgm:chMax val="1"/>
          <dgm:bulletEnabled val="1"/>
        </dgm:presLayoutVars>
      </dgm:prSet>
      <dgm:spPr/>
    </dgm:pt>
    <dgm:pt modelId="{C15CE9ED-CD0F-4F57-921E-A1122E64A7E7}" type="pres">
      <dgm:prSet presAssocID="{5E51E838-C5E4-4F93-AC49-32A1A682F1F9}" presName="levelTx" presStyleLbl="revTx" presStyleIdx="0" presStyleCnt="0">
        <dgm:presLayoutVars>
          <dgm:chMax val="1"/>
          <dgm:bulletEnabled val="1"/>
        </dgm:presLayoutVars>
      </dgm:prSet>
      <dgm:spPr/>
    </dgm:pt>
    <dgm:pt modelId="{85C59724-F792-47B6-A6D8-DD24F61BDA90}" type="pres">
      <dgm:prSet presAssocID="{D56843EF-5428-4339-B084-FB0E87CAFA2E}" presName="Name8" presStyleCnt="0"/>
      <dgm:spPr/>
    </dgm:pt>
    <dgm:pt modelId="{EDDD2D88-775D-4CFB-9529-D866741BA7E6}" type="pres">
      <dgm:prSet presAssocID="{D56843EF-5428-4339-B084-FB0E87CAFA2E}" presName="level" presStyleLbl="node1" presStyleIdx="3" presStyleCnt="5">
        <dgm:presLayoutVars>
          <dgm:chMax val="1"/>
          <dgm:bulletEnabled val="1"/>
        </dgm:presLayoutVars>
      </dgm:prSet>
      <dgm:spPr/>
    </dgm:pt>
    <dgm:pt modelId="{6C11F2A2-E932-475F-93C7-B83CF015B78F}" type="pres">
      <dgm:prSet presAssocID="{D56843EF-5428-4339-B084-FB0E87CAFA2E}" presName="levelTx" presStyleLbl="revTx" presStyleIdx="0" presStyleCnt="0">
        <dgm:presLayoutVars>
          <dgm:chMax val="1"/>
          <dgm:bulletEnabled val="1"/>
        </dgm:presLayoutVars>
      </dgm:prSet>
      <dgm:spPr/>
    </dgm:pt>
    <dgm:pt modelId="{879BE281-8CA6-4B60-84DF-789D224EF854}" type="pres">
      <dgm:prSet presAssocID="{8BF308C6-AFC2-4B02-8743-4AAB83B4337E}" presName="Name8" presStyleCnt="0"/>
      <dgm:spPr/>
    </dgm:pt>
    <dgm:pt modelId="{1740E2CF-9D73-46C3-B3B3-53B26E9DEF93}" type="pres">
      <dgm:prSet presAssocID="{8BF308C6-AFC2-4B02-8743-4AAB83B4337E}" presName="level" presStyleLbl="node1" presStyleIdx="4" presStyleCnt="5">
        <dgm:presLayoutVars>
          <dgm:chMax val="1"/>
          <dgm:bulletEnabled val="1"/>
        </dgm:presLayoutVars>
      </dgm:prSet>
      <dgm:spPr/>
    </dgm:pt>
    <dgm:pt modelId="{2129E2F5-08F2-45BB-98D0-3569F4F5220C}" type="pres">
      <dgm:prSet presAssocID="{8BF308C6-AFC2-4B02-8743-4AAB83B4337E}" presName="levelTx" presStyleLbl="revTx" presStyleIdx="0" presStyleCnt="0">
        <dgm:presLayoutVars>
          <dgm:chMax val="1"/>
          <dgm:bulletEnabled val="1"/>
        </dgm:presLayoutVars>
      </dgm:prSet>
      <dgm:spPr/>
    </dgm:pt>
  </dgm:ptLst>
  <dgm:cxnLst>
    <dgm:cxn modelId="{839F9B0E-9C08-447B-A4EE-DC6BBF252B25}" type="presOf" srcId="{D56843EF-5428-4339-B084-FB0E87CAFA2E}" destId="{6C11F2A2-E932-475F-93C7-B83CF015B78F}" srcOrd="1" destOrd="0" presId="urn:microsoft.com/office/officeart/2005/8/layout/pyramid3"/>
    <dgm:cxn modelId="{EEE59810-FCA3-4263-898E-1312A7154F96}" type="presOf" srcId="{8BF308C6-AFC2-4B02-8743-4AAB83B4337E}" destId="{1740E2CF-9D73-46C3-B3B3-53B26E9DEF93}" srcOrd="0" destOrd="0" presId="urn:microsoft.com/office/officeart/2005/8/layout/pyramid3"/>
    <dgm:cxn modelId="{40550C2A-D449-4A7C-8907-5AC7A5264C53}" type="presOf" srcId="{5E51E838-C5E4-4F93-AC49-32A1A682F1F9}" destId="{C15CE9ED-CD0F-4F57-921E-A1122E64A7E7}" srcOrd="1" destOrd="0" presId="urn:microsoft.com/office/officeart/2005/8/layout/pyramid3"/>
    <dgm:cxn modelId="{473F4836-2FA1-49F8-AEE8-69B759E1F3B8}" srcId="{955A92F2-0723-4949-90A3-22F091BE06E8}" destId="{5E51E838-C5E4-4F93-AC49-32A1A682F1F9}" srcOrd="2" destOrd="0" parTransId="{C0EF18AF-CBE0-476D-83CC-659AE6F10413}" sibTransId="{780C01B7-B3B9-4EDF-BE86-3AC132D96E3A}"/>
    <dgm:cxn modelId="{D0CC485C-0EF1-45FB-ADDD-C1A48B17E503}" type="presOf" srcId="{955A92F2-0723-4949-90A3-22F091BE06E8}" destId="{D9B88D8D-1CEE-403A-BC76-650E8FA14F1C}" srcOrd="0" destOrd="0" presId="urn:microsoft.com/office/officeart/2005/8/layout/pyramid3"/>
    <dgm:cxn modelId="{E0E34F67-3332-45E4-BA2A-B0937C682615}" type="presOf" srcId="{77E3AFCF-9119-4DF0-87B8-BFE9816B9F6B}" destId="{AC2FF48C-42E0-46C5-98F8-8521250152E9}" srcOrd="1" destOrd="0" presId="urn:microsoft.com/office/officeart/2005/8/layout/pyramid3"/>
    <dgm:cxn modelId="{9FC41C6D-CB51-40AB-AEB4-1CE32AEED76C}" srcId="{955A92F2-0723-4949-90A3-22F091BE06E8}" destId="{8BF308C6-AFC2-4B02-8743-4AAB83B4337E}" srcOrd="4" destOrd="0" parTransId="{56AE2772-259D-448E-9C66-E297ED7E3E7D}" sibTransId="{0D94E92E-7608-4CE4-B98D-359C1F541014}"/>
    <dgm:cxn modelId="{D6CFAB71-CCA5-43E7-B293-56234734BD4A}" type="presOf" srcId="{77E3AFCF-9119-4DF0-87B8-BFE9816B9F6B}" destId="{DF88ADA0-D5ED-41EA-B6EB-74480BBEB776}" srcOrd="0" destOrd="0" presId="urn:microsoft.com/office/officeart/2005/8/layout/pyramid3"/>
    <dgm:cxn modelId="{1A110C72-7A6E-4B3A-A67A-840D15D4AB6F}" type="presOf" srcId="{5E51E838-C5E4-4F93-AC49-32A1A682F1F9}" destId="{FF66E1E6-B44B-49A6-8695-575EDF6D52C3}" srcOrd="0" destOrd="0" presId="urn:microsoft.com/office/officeart/2005/8/layout/pyramid3"/>
    <dgm:cxn modelId="{20913576-5895-402D-A239-336C4B7D72F0}" type="presOf" srcId="{352C3B11-1DAD-4796-887D-12B78C9E6D87}" destId="{3A8F4640-B692-484B-A8C5-555310E6FB91}" srcOrd="0" destOrd="0" presId="urn:microsoft.com/office/officeart/2005/8/layout/pyramid3"/>
    <dgm:cxn modelId="{3FB5D2B2-0A36-4ACD-9D4E-ACDFCDFC8A6E}" type="presOf" srcId="{352C3B11-1DAD-4796-887D-12B78C9E6D87}" destId="{D70A65C0-FD52-4E55-AF52-1664D3930553}" srcOrd="1" destOrd="0" presId="urn:microsoft.com/office/officeart/2005/8/layout/pyramid3"/>
    <dgm:cxn modelId="{45E8A5B7-4204-4CB1-BB69-22C6D3C10EB1}" type="presOf" srcId="{8BF308C6-AFC2-4B02-8743-4AAB83B4337E}" destId="{2129E2F5-08F2-45BB-98D0-3569F4F5220C}" srcOrd="1" destOrd="0" presId="urn:microsoft.com/office/officeart/2005/8/layout/pyramid3"/>
    <dgm:cxn modelId="{ADB07CBF-5452-48E4-B73A-B25DACFD1B73}" type="presOf" srcId="{D56843EF-5428-4339-B084-FB0E87CAFA2E}" destId="{EDDD2D88-775D-4CFB-9529-D866741BA7E6}" srcOrd="0" destOrd="0" presId="urn:microsoft.com/office/officeart/2005/8/layout/pyramid3"/>
    <dgm:cxn modelId="{4BB762DC-6987-462C-8C7E-58901FE3E022}" srcId="{955A92F2-0723-4949-90A3-22F091BE06E8}" destId="{352C3B11-1DAD-4796-887D-12B78C9E6D87}" srcOrd="1" destOrd="0" parTransId="{52A3123E-9EF0-4870-A658-FB7E082A1753}" sibTransId="{6B231BE6-D83A-4856-BE26-C84FFA885D30}"/>
    <dgm:cxn modelId="{BB1E87E3-5B07-4654-89B0-45775CF1EA6A}" srcId="{955A92F2-0723-4949-90A3-22F091BE06E8}" destId="{77E3AFCF-9119-4DF0-87B8-BFE9816B9F6B}" srcOrd="0" destOrd="0" parTransId="{161C2BCD-D0FF-4E71-B0C4-16D0DE3CD259}" sibTransId="{961753E2-7821-49D2-BD0A-D479BEFDCF7D}"/>
    <dgm:cxn modelId="{B70889F7-7E69-48E4-B29C-F884E76D412C}" srcId="{955A92F2-0723-4949-90A3-22F091BE06E8}" destId="{D56843EF-5428-4339-B084-FB0E87CAFA2E}" srcOrd="3" destOrd="0" parTransId="{9A6A1088-980D-4D1A-A4CB-C20A590A8EAC}" sibTransId="{7D889C88-E766-4A1F-945E-22B1AE90ACAD}"/>
    <dgm:cxn modelId="{E2CC2F27-724D-4B8A-987C-287E4E231FD9}" type="presParOf" srcId="{D9B88D8D-1CEE-403A-BC76-650E8FA14F1C}" destId="{0B461C9B-0CC5-470C-8599-F50D438B810A}" srcOrd="0" destOrd="0" presId="urn:microsoft.com/office/officeart/2005/8/layout/pyramid3"/>
    <dgm:cxn modelId="{869C03C6-BCAD-4CC2-A842-6789750AA75D}" type="presParOf" srcId="{0B461C9B-0CC5-470C-8599-F50D438B810A}" destId="{DF88ADA0-D5ED-41EA-B6EB-74480BBEB776}" srcOrd="0" destOrd="0" presId="urn:microsoft.com/office/officeart/2005/8/layout/pyramid3"/>
    <dgm:cxn modelId="{252187BA-69FE-49BD-BC12-775A1EEE4CB5}" type="presParOf" srcId="{0B461C9B-0CC5-470C-8599-F50D438B810A}" destId="{AC2FF48C-42E0-46C5-98F8-8521250152E9}" srcOrd="1" destOrd="0" presId="urn:microsoft.com/office/officeart/2005/8/layout/pyramid3"/>
    <dgm:cxn modelId="{756F4C3C-8C95-4277-B0BD-9470DA6698D1}" type="presParOf" srcId="{D9B88D8D-1CEE-403A-BC76-650E8FA14F1C}" destId="{AB65CF63-9104-4AE8-9D4E-CA0CB6AB2FB2}" srcOrd="1" destOrd="0" presId="urn:microsoft.com/office/officeart/2005/8/layout/pyramid3"/>
    <dgm:cxn modelId="{422C313B-3F2C-4019-B7C5-DBB74772FDF7}" type="presParOf" srcId="{AB65CF63-9104-4AE8-9D4E-CA0CB6AB2FB2}" destId="{3A8F4640-B692-484B-A8C5-555310E6FB91}" srcOrd="0" destOrd="0" presId="urn:microsoft.com/office/officeart/2005/8/layout/pyramid3"/>
    <dgm:cxn modelId="{9FC4EA87-69B8-405E-BDD7-67348304DD40}" type="presParOf" srcId="{AB65CF63-9104-4AE8-9D4E-CA0CB6AB2FB2}" destId="{D70A65C0-FD52-4E55-AF52-1664D3930553}" srcOrd="1" destOrd="0" presId="urn:microsoft.com/office/officeart/2005/8/layout/pyramid3"/>
    <dgm:cxn modelId="{25CCC30E-DBA8-4F1D-9C5A-505E8EEBFC9D}" type="presParOf" srcId="{D9B88D8D-1CEE-403A-BC76-650E8FA14F1C}" destId="{9EB8F085-7F43-4564-92B7-4E6DCDF8AE19}" srcOrd="2" destOrd="0" presId="urn:microsoft.com/office/officeart/2005/8/layout/pyramid3"/>
    <dgm:cxn modelId="{223E0F66-754B-4BE6-9A9B-721838383219}" type="presParOf" srcId="{9EB8F085-7F43-4564-92B7-4E6DCDF8AE19}" destId="{FF66E1E6-B44B-49A6-8695-575EDF6D52C3}" srcOrd="0" destOrd="0" presId="urn:microsoft.com/office/officeart/2005/8/layout/pyramid3"/>
    <dgm:cxn modelId="{E38D242F-8EC2-42A3-B896-CEC3AA1750D3}" type="presParOf" srcId="{9EB8F085-7F43-4564-92B7-4E6DCDF8AE19}" destId="{C15CE9ED-CD0F-4F57-921E-A1122E64A7E7}" srcOrd="1" destOrd="0" presId="urn:microsoft.com/office/officeart/2005/8/layout/pyramid3"/>
    <dgm:cxn modelId="{2AA2E575-8B4C-435F-85A0-6942ED651DD3}" type="presParOf" srcId="{D9B88D8D-1CEE-403A-BC76-650E8FA14F1C}" destId="{85C59724-F792-47B6-A6D8-DD24F61BDA90}" srcOrd="3" destOrd="0" presId="urn:microsoft.com/office/officeart/2005/8/layout/pyramid3"/>
    <dgm:cxn modelId="{A7BE1E52-841D-41BE-9344-F3D802BF94EC}" type="presParOf" srcId="{85C59724-F792-47B6-A6D8-DD24F61BDA90}" destId="{EDDD2D88-775D-4CFB-9529-D866741BA7E6}" srcOrd="0" destOrd="0" presId="urn:microsoft.com/office/officeart/2005/8/layout/pyramid3"/>
    <dgm:cxn modelId="{1ABAEF95-E944-4B7F-B6C0-7FF209B94247}" type="presParOf" srcId="{85C59724-F792-47B6-A6D8-DD24F61BDA90}" destId="{6C11F2A2-E932-475F-93C7-B83CF015B78F}" srcOrd="1" destOrd="0" presId="urn:microsoft.com/office/officeart/2005/8/layout/pyramid3"/>
    <dgm:cxn modelId="{E215CD91-35CF-43E2-9C21-06CA18DE23ED}" type="presParOf" srcId="{D9B88D8D-1CEE-403A-BC76-650E8FA14F1C}" destId="{879BE281-8CA6-4B60-84DF-789D224EF854}" srcOrd="4" destOrd="0" presId="urn:microsoft.com/office/officeart/2005/8/layout/pyramid3"/>
    <dgm:cxn modelId="{A987BBAA-705D-491B-9947-527C1B3605F2}" type="presParOf" srcId="{879BE281-8CA6-4B60-84DF-789D224EF854}" destId="{1740E2CF-9D73-46C3-B3B3-53B26E9DEF93}" srcOrd="0" destOrd="0" presId="urn:microsoft.com/office/officeart/2005/8/layout/pyramid3"/>
    <dgm:cxn modelId="{F6A18690-327C-457F-839C-2413037D27D6}" type="presParOf" srcId="{879BE281-8CA6-4B60-84DF-789D224EF854}" destId="{2129E2F5-08F2-45BB-98D0-3569F4F5220C}" srcOrd="1" destOrd="0" presId="urn:microsoft.com/office/officeart/2005/8/layout/pyramid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273439A-A731-4CF6-A56F-87D9310BF391}" type="doc">
      <dgm:prSet loTypeId="urn:microsoft.com/office/officeart/2005/8/layout/hierarchy4" loCatId="list" qsTypeId="urn:microsoft.com/office/officeart/2005/8/quickstyle/simple3" qsCatId="simple" csTypeId="urn:microsoft.com/office/officeart/2005/8/colors/accent6_5" csCatId="accent6" phldr="1"/>
      <dgm:spPr/>
      <dgm:t>
        <a:bodyPr/>
        <a:lstStyle/>
        <a:p>
          <a:endParaRPr lang="en-IN"/>
        </a:p>
      </dgm:t>
    </dgm:pt>
    <dgm:pt modelId="{3B6BB487-3977-4451-890F-A29D167E206D}">
      <dgm:prSet phldrT="[Text]" custT="1"/>
      <dgm:spPr/>
      <dgm:t>
        <a:bodyPr/>
        <a:lstStyle/>
        <a:p>
          <a:pPr algn="ctr"/>
          <a:r>
            <a:rPr lang="en-US" sz="2800" b="1" dirty="0"/>
            <a:t>NLG</a:t>
          </a:r>
          <a:r>
            <a:rPr lang="en-US" sz="2800" dirty="0"/>
            <a:t> </a:t>
          </a:r>
        </a:p>
        <a:p>
          <a:pPr algn="ctr"/>
          <a:r>
            <a:rPr lang="en-US" sz="1700" b="1" dirty="0"/>
            <a:t>Natural Language Generation </a:t>
          </a:r>
        </a:p>
        <a:p>
          <a:pPr algn="ctr"/>
          <a:r>
            <a:rPr lang="en-US" sz="1700" b="1" dirty="0"/>
            <a:t>NLG</a:t>
          </a:r>
          <a:r>
            <a:rPr lang="en-US" sz="1700" dirty="0"/>
            <a:t> Generates Text/Speech  from all kinds of data</a:t>
          </a:r>
        </a:p>
        <a:p>
          <a:pPr algn="ctr"/>
          <a:r>
            <a:rPr lang="en-US" sz="1700" b="1" dirty="0"/>
            <a:t>Types: Text-to-Text Generation-</a:t>
          </a:r>
          <a:r>
            <a:rPr lang="en-US" sz="1700" dirty="0"/>
            <a:t>&gt; Input-&gt;existing human written text, output-&gt;machine generated text</a:t>
          </a:r>
          <a:endParaRPr lang="en-US" sz="1700" b="1" dirty="0"/>
        </a:p>
        <a:p>
          <a:pPr algn="ctr"/>
          <a:r>
            <a:rPr lang="en-US" sz="1700" b="1" dirty="0"/>
            <a:t>Tasks:</a:t>
          </a:r>
          <a:r>
            <a:rPr lang="en-US" sz="1700" dirty="0"/>
            <a:t> </a:t>
          </a:r>
          <a:r>
            <a:rPr lang="en-US" sz="1700" b="0" i="0" dirty="0"/>
            <a:t>text summarization, language translation,</a:t>
          </a:r>
        </a:p>
        <a:p>
          <a:pPr algn="ctr"/>
          <a:r>
            <a:rPr lang="en-US" sz="1700" b="0" i="0" dirty="0"/>
            <a:t>Text simplification, Grammer and spell correction </a:t>
          </a:r>
        </a:p>
        <a:p>
          <a:pPr algn="ctr"/>
          <a:r>
            <a:rPr lang="en-US" sz="1700" b="1" dirty="0"/>
            <a:t>Types: Data-to-Text Generation-&gt;</a:t>
          </a:r>
          <a:r>
            <a:rPr lang="en-US" sz="1700" b="0" i="0" dirty="0"/>
            <a:t>Input</a:t>
          </a:r>
          <a:r>
            <a:rPr lang="en-US" sz="1700" b="1" i="0" dirty="0"/>
            <a:t> -&gt;</a:t>
          </a:r>
          <a:r>
            <a:rPr lang="en-US" sz="1700" b="0" i="0" dirty="0"/>
            <a:t> Structured Data or Instructions(Non-Linguistic Data), Output</a:t>
          </a:r>
          <a:r>
            <a:rPr lang="en-US" sz="1700" b="1" i="0" dirty="0"/>
            <a:t>-&gt; </a:t>
          </a:r>
          <a:r>
            <a:rPr lang="en-US" sz="1700" b="0" i="0" dirty="0"/>
            <a:t>Natural language Text or Speech</a:t>
          </a:r>
        </a:p>
        <a:p>
          <a:pPr algn="ctr"/>
          <a:r>
            <a:rPr lang="en-US" sz="1700" b="1" dirty="0"/>
            <a:t>Tasks: </a:t>
          </a:r>
          <a:r>
            <a:rPr lang="en-US" sz="1700" b="0" dirty="0"/>
            <a:t>Automated Journalism, Weather Report/ Financial Report generation</a:t>
          </a:r>
        </a:p>
        <a:p>
          <a:pPr algn="ctr"/>
          <a:r>
            <a:rPr lang="en-IN" sz="1700" b="1" dirty="0"/>
            <a:t>Example:  </a:t>
          </a:r>
          <a:r>
            <a:rPr lang="en-IN" sz="1700" b="0" dirty="0"/>
            <a:t>W</a:t>
          </a:r>
          <a:r>
            <a:rPr lang="en-IN" sz="1700" b="0" i="0" dirty="0"/>
            <a:t>eather forecasting system Input: </a:t>
          </a:r>
          <a:r>
            <a:rPr lang="en-US" sz="1700" b="0" i="0" dirty="0"/>
            <a:t>temperature, humidity, and wind speed  data </a:t>
          </a:r>
        </a:p>
        <a:p>
          <a:pPr algn="ctr"/>
          <a:r>
            <a:rPr lang="en-US" sz="1700" b="0" i="0" dirty="0"/>
            <a:t>Output: weather report in natural language</a:t>
          </a:r>
          <a:endParaRPr lang="en-IN" sz="1700" b="1" dirty="0"/>
        </a:p>
      </dgm:t>
    </dgm:pt>
    <dgm:pt modelId="{E5DCE47A-8002-4AB4-BBC6-003CEA4BBF61}" type="parTrans" cxnId="{1C18B89E-1649-47E3-9299-007DEDD7C79A}">
      <dgm:prSet/>
      <dgm:spPr/>
      <dgm:t>
        <a:bodyPr/>
        <a:lstStyle/>
        <a:p>
          <a:endParaRPr lang="en-IN"/>
        </a:p>
      </dgm:t>
    </dgm:pt>
    <dgm:pt modelId="{A18AE627-FACA-4DA7-B200-6161548E74EE}" type="sibTrans" cxnId="{1C18B89E-1649-47E3-9299-007DEDD7C79A}">
      <dgm:prSet/>
      <dgm:spPr/>
      <dgm:t>
        <a:bodyPr/>
        <a:lstStyle/>
        <a:p>
          <a:endParaRPr lang="en-IN"/>
        </a:p>
      </dgm:t>
    </dgm:pt>
    <dgm:pt modelId="{C31BF091-95AF-46CA-8AAD-CF495709D5E5}">
      <dgm:prSet phldrT="[Text]" custT="1"/>
      <dgm:spPr/>
      <dgm:t>
        <a:bodyPr/>
        <a:lstStyle/>
        <a:p>
          <a:r>
            <a:rPr lang="en-US" sz="2800" b="1" dirty="0"/>
            <a:t>NLU</a:t>
          </a:r>
          <a:r>
            <a:rPr lang="en-US" sz="2800" dirty="0"/>
            <a:t> </a:t>
          </a:r>
        </a:p>
        <a:p>
          <a:r>
            <a:rPr lang="en-US" sz="1700" b="1" dirty="0"/>
            <a:t>Natural Language Understanding  </a:t>
          </a:r>
        </a:p>
        <a:p>
          <a:r>
            <a:rPr lang="en-US" sz="1700" b="1" dirty="0"/>
            <a:t>NLU</a:t>
          </a:r>
          <a:r>
            <a:rPr lang="en-US" sz="1700" dirty="0"/>
            <a:t> focus on </a:t>
          </a:r>
          <a:r>
            <a:rPr lang="en-US" sz="1700" b="0" i="0" dirty="0"/>
            <a:t> extract meaning, entities, intents, and context ,dialects, slangs from the text or speech</a:t>
          </a:r>
        </a:p>
        <a:p>
          <a:r>
            <a:rPr lang="en-US" sz="1700" b="1" i="0" dirty="0"/>
            <a:t>Tasks</a:t>
          </a:r>
          <a:r>
            <a:rPr lang="en-US" sz="1700" b="0" i="0" dirty="0"/>
            <a:t>:</a:t>
          </a:r>
          <a:r>
            <a:rPr lang="en-IN" sz="1700" b="0" i="0" dirty="0"/>
            <a:t>language parsing, semantic analysis, entity recognition, sentiment analysis, and intent classification</a:t>
          </a:r>
        </a:p>
        <a:p>
          <a:r>
            <a:rPr lang="en-IN" sz="1700" b="1" i="0" dirty="0"/>
            <a:t>Input</a:t>
          </a:r>
          <a:r>
            <a:rPr lang="en-IN" sz="1700" b="0" i="0" dirty="0"/>
            <a:t>: Natural Language Text or Speech</a:t>
          </a:r>
        </a:p>
        <a:p>
          <a:r>
            <a:rPr lang="en-IN" sz="1700" b="1" i="0" dirty="0"/>
            <a:t>Output</a:t>
          </a:r>
          <a:r>
            <a:rPr lang="en-IN" sz="1700" b="0" i="0" dirty="0"/>
            <a:t>: Structured Data or Metadata</a:t>
          </a:r>
        </a:p>
        <a:p>
          <a:r>
            <a:rPr lang="en-IN" sz="1700" b="1" i="0" dirty="0"/>
            <a:t>Example</a:t>
          </a:r>
          <a:r>
            <a:rPr lang="en-IN" sz="1700" b="0" i="0" dirty="0"/>
            <a:t>: Automatic Ticket Routing System</a:t>
          </a:r>
        </a:p>
        <a:p>
          <a:r>
            <a:rPr lang="en-IN" sz="1700" b="0" i="0" dirty="0"/>
            <a:t>Input: customer support tickets, Customer Complaints</a:t>
          </a:r>
        </a:p>
        <a:p>
          <a:r>
            <a:rPr lang="en-IN" sz="1700" b="0" i="0" dirty="0"/>
            <a:t>Output:  Entities such as topic, sentiment, and urgency</a:t>
          </a:r>
        </a:p>
        <a:p>
          <a:endParaRPr lang="en-IN" sz="1700" dirty="0"/>
        </a:p>
      </dgm:t>
    </dgm:pt>
    <dgm:pt modelId="{A7640821-C3FF-4979-B26E-46A0DB894D68}" type="parTrans" cxnId="{2D7DB9C1-18BD-4A31-BA1A-0D506E3B0CA4}">
      <dgm:prSet/>
      <dgm:spPr/>
      <dgm:t>
        <a:bodyPr/>
        <a:lstStyle/>
        <a:p>
          <a:endParaRPr lang="en-IN"/>
        </a:p>
      </dgm:t>
    </dgm:pt>
    <dgm:pt modelId="{96FA03E8-F4E5-4962-9B85-100F51130F6E}" type="sibTrans" cxnId="{2D7DB9C1-18BD-4A31-BA1A-0D506E3B0CA4}">
      <dgm:prSet/>
      <dgm:spPr/>
      <dgm:t>
        <a:bodyPr/>
        <a:lstStyle/>
        <a:p>
          <a:endParaRPr lang="en-IN"/>
        </a:p>
      </dgm:t>
    </dgm:pt>
    <dgm:pt modelId="{B88CED31-BB42-49B0-B28C-C0F801876112}" type="pres">
      <dgm:prSet presAssocID="{3273439A-A731-4CF6-A56F-87D9310BF391}" presName="Name0" presStyleCnt="0">
        <dgm:presLayoutVars>
          <dgm:chPref val="1"/>
          <dgm:dir/>
          <dgm:animOne val="branch"/>
          <dgm:animLvl val="lvl"/>
          <dgm:resizeHandles/>
        </dgm:presLayoutVars>
      </dgm:prSet>
      <dgm:spPr/>
    </dgm:pt>
    <dgm:pt modelId="{544A3815-3193-468C-933E-62FA8DC492A9}" type="pres">
      <dgm:prSet presAssocID="{3B6BB487-3977-4451-890F-A29D167E206D}" presName="vertOne" presStyleCnt="0"/>
      <dgm:spPr/>
    </dgm:pt>
    <dgm:pt modelId="{89D94684-B658-427C-80DE-C57283AAEBB0}" type="pres">
      <dgm:prSet presAssocID="{3B6BB487-3977-4451-890F-A29D167E206D}" presName="txOne" presStyleLbl="node0" presStyleIdx="0" presStyleCnt="2" custLinFactNeighborX="-786" custLinFactNeighborY="0">
        <dgm:presLayoutVars>
          <dgm:chPref val="3"/>
        </dgm:presLayoutVars>
      </dgm:prSet>
      <dgm:spPr/>
    </dgm:pt>
    <dgm:pt modelId="{655E62B6-D0E1-4852-AA79-10232AA1C233}" type="pres">
      <dgm:prSet presAssocID="{3B6BB487-3977-4451-890F-A29D167E206D}" presName="horzOne" presStyleCnt="0"/>
      <dgm:spPr/>
    </dgm:pt>
    <dgm:pt modelId="{790ABD9F-8FAF-4F7D-9478-985CDE7A456C}" type="pres">
      <dgm:prSet presAssocID="{A18AE627-FACA-4DA7-B200-6161548E74EE}" presName="sibSpaceOne" presStyleCnt="0"/>
      <dgm:spPr/>
    </dgm:pt>
    <dgm:pt modelId="{1BDDD290-E994-4E60-8BA1-65C5228BC662}" type="pres">
      <dgm:prSet presAssocID="{C31BF091-95AF-46CA-8AAD-CF495709D5E5}" presName="vertOne" presStyleCnt="0"/>
      <dgm:spPr/>
    </dgm:pt>
    <dgm:pt modelId="{F0DE685F-4773-4583-BFCD-91BA5274B009}" type="pres">
      <dgm:prSet presAssocID="{C31BF091-95AF-46CA-8AAD-CF495709D5E5}" presName="txOne" presStyleLbl="node0" presStyleIdx="1" presStyleCnt="2" custLinFactNeighborX="-5078" custLinFactNeighborY="853">
        <dgm:presLayoutVars>
          <dgm:chPref val="3"/>
        </dgm:presLayoutVars>
      </dgm:prSet>
      <dgm:spPr/>
    </dgm:pt>
    <dgm:pt modelId="{FB6C1040-1CF2-46EA-B939-8E48357E27DD}" type="pres">
      <dgm:prSet presAssocID="{C31BF091-95AF-46CA-8AAD-CF495709D5E5}" presName="horzOne" presStyleCnt="0"/>
      <dgm:spPr/>
    </dgm:pt>
  </dgm:ptLst>
  <dgm:cxnLst>
    <dgm:cxn modelId="{F1769256-E8B6-48C8-B3AA-D6281EEE23F0}" type="presOf" srcId="{3273439A-A731-4CF6-A56F-87D9310BF391}" destId="{B88CED31-BB42-49B0-B28C-C0F801876112}" srcOrd="0" destOrd="0" presId="urn:microsoft.com/office/officeart/2005/8/layout/hierarchy4"/>
    <dgm:cxn modelId="{1C18B89E-1649-47E3-9299-007DEDD7C79A}" srcId="{3273439A-A731-4CF6-A56F-87D9310BF391}" destId="{3B6BB487-3977-4451-890F-A29D167E206D}" srcOrd="0" destOrd="0" parTransId="{E5DCE47A-8002-4AB4-BBC6-003CEA4BBF61}" sibTransId="{A18AE627-FACA-4DA7-B200-6161548E74EE}"/>
    <dgm:cxn modelId="{BDB419A8-990A-4327-A17E-D4A72CDA127D}" type="presOf" srcId="{C31BF091-95AF-46CA-8AAD-CF495709D5E5}" destId="{F0DE685F-4773-4583-BFCD-91BA5274B009}" srcOrd="0" destOrd="0" presId="urn:microsoft.com/office/officeart/2005/8/layout/hierarchy4"/>
    <dgm:cxn modelId="{2D7DB9C1-18BD-4A31-BA1A-0D506E3B0CA4}" srcId="{3273439A-A731-4CF6-A56F-87D9310BF391}" destId="{C31BF091-95AF-46CA-8AAD-CF495709D5E5}" srcOrd="1" destOrd="0" parTransId="{A7640821-C3FF-4979-B26E-46A0DB894D68}" sibTransId="{96FA03E8-F4E5-4962-9B85-100F51130F6E}"/>
    <dgm:cxn modelId="{FFD4BFCC-0809-4944-9E38-5BDBF447677A}" type="presOf" srcId="{3B6BB487-3977-4451-890F-A29D167E206D}" destId="{89D94684-B658-427C-80DE-C57283AAEBB0}" srcOrd="0" destOrd="0" presId="urn:microsoft.com/office/officeart/2005/8/layout/hierarchy4"/>
    <dgm:cxn modelId="{89831101-C5BB-49B6-BBE3-7A709EC3E5A9}" type="presParOf" srcId="{B88CED31-BB42-49B0-B28C-C0F801876112}" destId="{544A3815-3193-468C-933E-62FA8DC492A9}" srcOrd="0" destOrd="0" presId="urn:microsoft.com/office/officeart/2005/8/layout/hierarchy4"/>
    <dgm:cxn modelId="{85413258-C653-40BC-8553-688C158691B6}" type="presParOf" srcId="{544A3815-3193-468C-933E-62FA8DC492A9}" destId="{89D94684-B658-427C-80DE-C57283AAEBB0}" srcOrd="0" destOrd="0" presId="urn:microsoft.com/office/officeart/2005/8/layout/hierarchy4"/>
    <dgm:cxn modelId="{0EC6D618-A285-4B1F-83DF-BE1724363CC1}" type="presParOf" srcId="{544A3815-3193-468C-933E-62FA8DC492A9}" destId="{655E62B6-D0E1-4852-AA79-10232AA1C233}" srcOrd="1" destOrd="0" presId="urn:microsoft.com/office/officeart/2005/8/layout/hierarchy4"/>
    <dgm:cxn modelId="{8CF6240F-7EB7-4808-8153-763E3F2E0656}" type="presParOf" srcId="{B88CED31-BB42-49B0-B28C-C0F801876112}" destId="{790ABD9F-8FAF-4F7D-9478-985CDE7A456C}" srcOrd="1" destOrd="0" presId="urn:microsoft.com/office/officeart/2005/8/layout/hierarchy4"/>
    <dgm:cxn modelId="{CC1AB445-5B17-4D5B-89F8-F75D0276D5D5}" type="presParOf" srcId="{B88CED31-BB42-49B0-B28C-C0F801876112}" destId="{1BDDD290-E994-4E60-8BA1-65C5228BC662}" srcOrd="2" destOrd="0" presId="urn:microsoft.com/office/officeart/2005/8/layout/hierarchy4"/>
    <dgm:cxn modelId="{689AA639-17FF-41F9-ACBA-A51951C49EE0}" type="presParOf" srcId="{1BDDD290-E994-4E60-8BA1-65C5228BC662}" destId="{F0DE685F-4773-4583-BFCD-91BA5274B009}" srcOrd="0" destOrd="0" presId="urn:microsoft.com/office/officeart/2005/8/layout/hierarchy4"/>
    <dgm:cxn modelId="{A93D9B42-3890-4DD6-9695-FFB6736AA107}" type="presParOf" srcId="{1BDDD290-E994-4E60-8BA1-65C5228BC662}" destId="{FB6C1040-1CF2-46EA-B939-8E48357E27DD}"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6963B2-92CA-4926-81A1-75B40B935EDD}" type="doc">
      <dgm:prSet loTypeId="urn:microsoft.com/office/officeart/2016/7/layout/VerticalSolidActionList" loCatId="List" qsTypeId="urn:microsoft.com/office/officeart/2005/8/quickstyle/simple1" qsCatId="simple" csTypeId="urn:microsoft.com/office/officeart/2005/8/colors/colorful2" csCatId="colorful" phldr="1"/>
      <dgm:spPr/>
      <dgm:t>
        <a:bodyPr/>
        <a:lstStyle/>
        <a:p>
          <a:endParaRPr lang="en-IN"/>
        </a:p>
      </dgm:t>
    </dgm:pt>
    <dgm:pt modelId="{A0DEC140-EED6-4CAC-A3CC-77694C73C2EC}">
      <dgm:prSet phldrT="[Text]" custT="1"/>
      <dgm:spPr/>
      <dgm:t>
        <a:bodyPr/>
        <a:lstStyle/>
        <a:p>
          <a:r>
            <a:rPr lang="en-US" sz="2000" dirty="0"/>
            <a:t>Template Based NLG</a:t>
          </a:r>
          <a:endParaRPr lang="en-IN" sz="2000" dirty="0"/>
        </a:p>
      </dgm:t>
    </dgm:pt>
    <dgm:pt modelId="{69CEF915-8F51-417B-83D3-EE7AB2CBDAD1}" type="parTrans" cxnId="{3CA49069-60EA-4E24-BB9E-808A49DCD669}">
      <dgm:prSet/>
      <dgm:spPr/>
      <dgm:t>
        <a:bodyPr/>
        <a:lstStyle/>
        <a:p>
          <a:endParaRPr lang="en-IN" sz="1400"/>
        </a:p>
      </dgm:t>
    </dgm:pt>
    <dgm:pt modelId="{FAB44D2F-70E5-44E2-9994-4D8503EB14AE}" type="sibTrans" cxnId="{3CA49069-60EA-4E24-BB9E-808A49DCD669}">
      <dgm:prSet/>
      <dgm:spPr/>
      <dgm:t>
        <a:bodyPr/>
        <a:lstStyle/>
        <a:p>
          <a:endParaRPr lang="en-IN" sz="1400"/>
        </a:p>
      </dgm:t>
    </dgm:pt>
    <dgm:pt modelId="{A430991D-A550-4154-8D65-A10AB1B6CBC3}">
      <dgm:prSet phldrT="[Text]" custT="1"/>
      <dgm:spPr/>
      <dgm:t>
        <a:bodyPr/>
        <a:lstStyle/>
        <a:p>
          <a:r>
            <a:rPr lang="en-US" sz="1400" b="0" i="0" dirty="0"/>
            <a:t>use predefined templates to generate text based on input data</a:t>
          </a:r>
          <a:endParaRPr lang="en-IN" sz="1400" dirty="0"/>
        </a:p>
      </dgm:t>
    </dgm:pt>
    <dgm:pt modelId="{35F78F66-11F6-4FC4-9175-69BD426464F5}" type="parTrans" cxnId="{2611851C-BB99-4B7C-A465-D3EBD9A7ADC6}">
      <dgm:prSet/>
      <dgm:spPr/>
      <dgm:t>
        <a:bodyPr/>
        <a:lstStyle/>
        <a:p>
          <a:endParaRPr lang="en-IN" sz="1400"/>
        </a:p>
      </dgm:t>
    </dgm:pt>
    <dgm:pt modelId="{11FE9F1B-4D8B-4519-8CEE-A2E0E4B51919}" type="sibTrans" cxnId="{2611851C-BB99-4B7C-A465-D3EBD9A7ADC6}">
      <dgm:prSet/>
      <dgm:spPr/>
      <dgm:t>
        <a:bodyPr/>
        <a:lstStyle/>
        <a:p>
          <a:endParaRPr lang="en-IN" sz="1400"/>
        </a:p>
      </dgm:t>
    </dgm:pt>
    <dgm:pt modelId="{A34A2EC4-279A-44A6-A9BE-175F01916B26}">
      <dgm:prSet phldrT="[Text]" custT="1"/>
      <dgm:spPr/>
      <dgm:t>
        <a:bodyPr/>
        <a:lstStyle/>
        <a:p>
          <a:r>
            <a:rPr lang="en-US" sz="1400" b="0" i="0" dirty="0"/>
            <a:t>substitute placeholders in templates with relevant data</a:t>
          </a:r>
          <a:endParaRPr lang="en-IN" sz="1400" dirty="0"/>
        </a:p>
      </dgm:t>
    </dgm:pt>
    <dgm:pt modelId="{8E810406-8794-4ACC-898D-269A28D483AE}" type="parTrans" cxnId="{8B0548AA-3664-4DAB-AB45-05868946FB43}">
      <dgm:prSet/>
      <dgm:spPr/>
      <dgm:t>
        <a:bodyPr/>
        <a:lstStyle/>
        <a:p>
          <a:endParaRPr lang="en-IN" sz="1400"/>
        </a:p>
      </dgm:t>
    </dgm:pt>
    <dgm:pt modelId="{96C2BD54-ED47-42D5-94CE-760C37E45F2F}" type="sibTrans" cxnId="{8B0548AA-3664-4DAB-AB45-05868946FB43}">
      <dgm:prSet/>
      <dgm:spPr/>
      <dgm:t>
        <a:bodyPr/>
        <a:lstStyle/>
        <a:p>
          <a:endParaRPr lang="en-IN" sz="1400"/>
        </a:p>
      </dgm:t>
    </dgm:pt>
    <dgm:pt modelId="{AEDAA6C1-41D1-4564-8AED-EB75B5E3BB07}">
      <dgm:prSet phldrT="[Text]" custT="1"/>
      <dgm:spPr/>
      <dgm:t>
        <a:bodyPr/>
        <a:lstStyle/>
        <a:p>
          <a:r>
            <a:rPr lang="en-US" sz="2000" dirty="0"/>
            <a:t>Rule Based NLG</a:t>
          </a:r>
          <a:endParaRPr lang="en-IN" sz="2000" dirty="0"/>
        </a:p>
      </dgm:t>
    </dgm:pt>
    <dgm:pt modelId="{786380B4-104C-44DE-8661-67FBC5170645}" type="parTrans" cxnId="{AA250061-71FA-4099-A6AC-35E4F9A0973B}">
      <dgm:prSet/>
      <dgm:spPr/>
      <dgm:t>
        <a:bodyPr/>
        <a:lstStyle/>
        <a:p>
          <a:endParaRPr lang="en-IN" sz="1400"/>
        </a:p>
      </dgm:t>
    </dgm:pt>
    <dgm:pt modelId="{90780BB0-E0FE-466D-B6D7-C4DBDA8A6BBE}" type="sibTrans" cxnId="{AA250061-71FA-4099-A6AC-35E4F9A0973B}">
      <dgm:prSet/>
      <dgm:spPr/>
      <dgm:t>
        <a:bodyPr/>
        <a:lstStyle/>
        <a:p>
          <a:endParaRPr lang="en-IN" sz="1400"/>
        </a:p>
      </dgm:t>
    </dgm:pt>
    <dgm:pt modelId="{91B42210-7535-4ADB-9A0A-71C68EEC6778}">
      <dgm:prSet phldrT="[Text]" custT="1"/>
      <dgm:spPr/>
      <dgm:t>
        <a:bodyPr/>
        <a:lstStyle/>
        <a:p>
          <a:r>
            <a:rPr lang="en-US" sz="1400" b="0" i="0"/>
            <a:t>use linguistic rules and grammatical structures to generate text. </a:t>
          </a:r>
          <a:endParaRPr lang="en-IN" sz="1400"/>
        </a:p>
      </dgm:t>
    </dgm:pt>
    <dgm:pt modelId="{E987EFCE-D599-4769-B94C-AE2D59A3158B}" type="parTrans" cxnId="{B88AF3F9-09FB-4F65-A9D9-65322F4FD4AB}">
      <dgm:prSet/>
      <dgm:spPr/>
      <dgm:t>
        <a:bodyPr/>
        <a:lstStyle/>
        <a:p>
          <a:endParaRPr lang="en-IN" sz="1400"/>
        </a:p>
      </dgm:t>
    </dgm:pt>
    <dgm:pt modelId="{A0BB2487-C81E-4512-AE93-4A92037ED6A9}" type="sibTrans" cxnId="{B88AF3F9-09FB-4F65-A9D9-65322F4FD4AB}">
      <dgm:prSet/>
      <dgm:spPr/>
      <dgm:t>
        <a:bodyPr/>
        <a:lstStyle/>
        <a:p>
          <a:endParaRPr lang="en-IN" sz="1400"/>
        </a:p>
      </dgm:t>
    </dgm:pt>
    <dgm:pt modelId="{381AFBD6-7CD7-4865-9AFB-827CBCFF2228}">
      <dgm:prSet phldrT="[Text]" custT="1"/>
      <dgm:spPr/>
      <dgm:t>
        <a:bodyPr/>
        <a:lstStyle/>
        <a:p>
          <a:r>
            <a:rPr lang="en-US" sz="1400"/>
            <a:t>Need </a:t>
          </a:r>
          <a:r>
            <a:rPr lang="en-IN" sz="1400" b="0" i="0"/>
            <a:t>linguists and domain experts in loop</a:t>
          </a:r>
          <a:endParaRPr lang="en-IN" sz="1400"/>
        </a:p>
      </dgm:t>
    </dgm:pt>
    <dgm:pt modelId="{DDCE0457-8686-4037-BDCA-068E5DF60DFD}" type="parTrans" cxnId="{E31FDF98-D1D3-4472-8D47-A912030DF646}">
      <dgm:prSet/>
      <dgm:spPr/>
      <dgm:t>
        <a:bodyPr/>
        <a:lstStyle/>
        <a:p>
          <a:endParaRPr lang="en-IN" sz="1400"/>
        </a:p>
      </dgm:t>
    </dgm:pt>
    <dgm:pt modelId="{B6C45456-9E8C-4EE3-A65D-3BB99F0E164D}" type="sibTrans" cxnId="{E31FDF98-D1D3-4472-8D47-A912030DF646}">
      <dgm:prSet/>
      <dgm:spPr/>
      <dgm:t>
        <a:bodyPr/>
        <a:lstStyle/>
        <a:p>
          <a:endParaRPr lang="en-IN" sz="1400"/>
        </a:p>
      </dgm:t>
    </dgm:pt>
    <dgm:pt modelId="{656CA0C4-0F99-455B-A403-944F11CA3554}">
      <dgm:prSet phldrT="[Text]" custT="1"/>
      <dgm:spPr/>
      <dgm:t>
        <a:bodyPr/>
        <a:lstStyle/>
        <a:p>
          <a:r>
            <a:rPr lang="en-US" sz="2000" dirty="0"/>
            <a:t>Statistical NLG</a:t>
          </a:r>
          <a:endParaRPr lang="en-IN" sz="2000" dirty="0"/>
        </a:p>
      </dgm:t>
    </dgm:pt>
    <dgm:pt modelId="{40AB9536-62A9-4F86-8EFF-72F0BC8E9F94}" type="parTrans" cxnId="{F3720512-70C2-4C86-BF8C-5D152F314288}">
      <dgm:prSet/>
      <dgm:spPr/>
      <dgm:t>
        <a:bodyPr/>
        <a:lstStyle/>
        <a:p>
          <a:endParaRPr lang="en-IN" sz="1400"/>
        </a:p>
      </dgm:t>
    </dgm:pt>
    <dgm:pt modelId="{1DEF0F25-B1EE-44C8-9818-3CA3A2BF50E1}" type="sibTrans" cxnId="{F3720512-70C2-4C86-BF8C-5D152F314288}">
      <dgm:prSet/>
      <dgm:spPr/>
      <dgm:t>
        <a:bodyPr/>
        <a:lstStyle/>
        <a:p>
          <a:endParaRPr lang="en-IN" sz="1400"/>
        </a:p>
      </dgm:t>
    </dgm:pt>
    <dgm:pt modelId="{78A1848F-604E-4F78-A361-A0527EFAE7B5}">
      <dgm:prSet phldrT="[Text]" custT="1"/>
      <dgm:spPr/>
      <dgm:t>
        <a:bodyPr/>
        <a:lstStyle/>
        <a:p>
          <a:r>
            <a:rPr lang="en-US" sz="2000" dirty="0"/>
            <a:t>Trainable NLG</a:t>
          </a:r>
          <a:endParaRPr lang="en-IN" sz="2000" dirty="0"/>
        </a:p>
      </dgm:t>
    </dgm:pt>
    <dgm:pt modelId="{78517862-E0BB-47AE-A4F2-492BF26A1284}" type="parTrans" cxnId="{431C78B7-3FF1-4637-A4CF-BD24D68D3BC0}">
      <dgm:prSet/>
      <dgm:spPr/>
      <dgm:t>
        <a:bodyPr/>
        <a:lstStyle/>
        <a:p>
          <a:endParaRPr lang="en-IN" sz="1400"/>
        </a:p>
      </dgm:t>
    </dgm:pt>
    <dgm:pt modelId="{AB2B34D9-359E-4073-938B-74BC2FE643A7}" type="sibTrans" cxnId="{431C78B7-3FF1-4637-A4CF-BD24D68D3BC0}">
      <dgm:prSet/>
      <dgm:spPr/>
      <dgm:t>
        <a:bodyPr/>
        <a:lstStyle/>
        <a:p>
          <a:endParaRPr lang="en-IN" sz="1400"/>
        </a:p>
      </dgm:t>
    </dgm:pt>
    <dgm:pt modelId="{24837979-5B67-4CC9-9EA0-5880BD8F35F3}">
      <dgm:prSet phldrT="[Text]" custT="1"/>
      <dgm:spPr/>
      <dgm:t>
        <a:bodyPr/>
        <a:lstStyle/>
        <a:p>
          <a:r>
            <a:rPr lang="en-US" sz="1400" b="0" i="0" dirty="0"/>
            <a:t>learn statistical patterns from large datasets to generate text</a:t>
          </a:r>
          <a:endParaRPr lang="en-IN" sz="1400" dirty="0"/>
        </a:p>
      </dgm:t>
    </dgm:pt>
    <dgm:pt modelId="{9BD5AD2B-E6FE-4326-9B19-EA5815B5580B}" type="parTrans" cxnId="{FCC99148-27DC-449E-89A7-0481CB8152E3}">
      <dgm:prSet/>
      <dgm:spPr/>
      <dgm:t>
        <a:bodyPr/>
        <a:lstStyle/>
        <a:p>
          <a:endParaRPr lang="en-IN" sz="1400"/>
        </a:p>
      </dgm:t>
    </dgm:pt>
    <dgm:pt modelId="{8B956232-3577-41DD-A862-E5292AD96F9D}" type="sibTrans" cxnId="{FCC99148-27DC-449E-89A7-0481CB8152E3}">
      <dgm:prSet/>
      <dgm:spPr/>
      <dgm:t>
        <a:bodyPr/>
        <a:lstStyle/>
        <a:p>
          <a:endParaRPr lang="en-IN" sz="1400"/>
        </a:p>
      </dgm:t>
    </dgm:pt>
    <dgm:pt modelId="{959EC4AF-C45D-4BD2-849F-E2E6A2E3359B}">
      <dgm:prSet phldrT="[Text]" custT="1"/>
      <dgm:spPr/>
      <dgm:t>
        <a:bodyPr/>
        <a:lstStyle/>
        <a:p>
          <a:r>
            <a:rPr lang="en-US" sz="1400" b="0" i="0">
              <a:effectLst/>
              <a:latin typeface="Söhne"/>
            </a:rPr>
            <a:t>A weather report generator that fills in a template like "The weather in [location] is [temperature] with [condition]</a:t>
          </a:r>
          <a:endParaRPr lang="en-IN" sz="1400"/>
        </a:p>
      </dgm:t>
    </dgm:pt>
    <dgm:pt modelId="{1E3E55FD-4A38-4B92-BA8F-2E9B0EF329E8}" type="parTrans" cxnId="{2732FEBB-72AB-4B9B-8E64-6A36760F2531}">
      <dgm:prSet/>
      <dgm:spPr/>
      <dgm:t>
        <a:bodyPr/>
        <a:lstStyle/>
        <a:p>
          <a:endParaRPr lang="en-IN" sz="1400"/>
        </a:p>
      </dgm:t>
    </dgm:pt>
    <dgm:pt modelId="{A6CD30E6-AF1F-4A8E-83EB-99D9DE11EC9D}" type="sibTrans" cxnId="{2732FEBB-72AB-4B9B-8E64-6A36760F2531}">
      <dgm:prSet/>
      <dgm:spPr/>
      <dgm:t>
        <a:bodyPr/>
        <a:lstStyle/>
        <a:p>
          <a:endParaRPr lang="en-IN" sz="1400"/>
        </a:p>
      </dgm:t>
    </dgm:pt>
    <dgm:pt modelId="{A914F4B6-EA2E-47BD-9C03-847DD1AE2F99}">
      <dgm:prSet phldrT="[Text]" custT="1"/>
      <dgm:spPr/>
      <dgm:t>
        <a:bodyPr/>
        <a:lstStyle/>
        <a:p>
          <a:r>
            <a:rPr lang="en-US" sz="1400" b="0" i="0"/>
            <a:t>A medical report generator that follows specific guidelines to create patient summaries based on diagnosis and treatment</a:t>
          </a:r>
          <a:endParaRPr lang="en-IN" sz="1400"/>
        </a:p>
      </dgm:t>
    </dgm:pt>
    <dgm:pt modelId="{DBEDD0B3-C5EB-4918-942F-567CD24F4C3B}" type="parTrans" cxnId="{4353545D-E297-4213-A541-69E858AD5C7C}">
      <dgm:prSet/>
      <dgm:spPr/>
      <dgm:t>
        <a:bodyPr/>
        <a:lstStyle/>
        <a:p>
          <a:endParaRPr lang="en-IN" sz="1400"/>
        </a:p>
      </dgm:t>
    </dgm:pt>
    <dgm:pt modelId="{40BE13D8-2DB6-4D19-851B-220C7780DBC4}" type="sibTrans" cxnId="{4353545D-E297-4213-A541-69E858AD5C7C}">
      <dgm:prSet/>
      <dgm:spPr/>
      <dgm:t>
        <a:bodyPr/>
        <a:lstStyle/>
        <a:p>
          <a:endParaRPr lang="en-IN" sz="1400"/>
        </a:p>
      </dgm:t>
    </dgm:pt>
    <dgm:pt modelId="{E182B74F-7D97-40AA-A6FA-0B2B0BE6FE87}">
      <dgm:prSet phldrT="[Text]" custT="1"/>
      <dgm:spPr/>
      <dgm:t>
        <a:bodyPr/>
        <a:lstStyle/>
        <a:p>
          <a:r>
            <a:rPr lang="en-US" sz="1400" b="0" i="0"/>
            <a:t>rely on probabilistic models to generate natural language.</a:t>
          </a:r>
          <a:endParaRPr lang="en-IN" sz="1400"/>
        </a:p>
      </dgm:t>
    </dgm:pt>
    <dgm:pt modelId="{1AB388B5-9866-41ED-AE95-B22211EF8554}" type="parTrans" cxnId="{2CD86DD9-4C67-436C-82B0-9D9419028BE4}">
      <dgm:prSet/>
      <dgm:spPr/>
      <dgm:t>
        <a:bodyPr/>
        <a:lstStyle/>
        <a:p>
          <a:endParaRPr lang="en-IN" sz="1400"/>
        </a:p>
      </dgm:t>
    </dgm:pt>
    <dgm:pt modelId="{DB469188-986B-4948-9AD1-61536599C5C1}" type="sibTrans" cxnId="{2CD86DD9-4C67-436C-82B0-9D9419028BE4}">
      <dgm:prSet/>
      <dgm:spPr/>
      <dgm:t>
        <a:bodyPr/>
        <a:lstStyle/>
        <a:p>
          <a:endParaRPr lang="en-IN" sz="1400"/>
        </a:p>
      </dgm:t>
    </dgm:pt>
    <dgm:pt modelId="{C23CD6FF-E0D2-480D-901E-651472C0D18A}">
      <dgm:prSet phldrT="[Text]" custT="1"/>
      <dgm:spPr/>
      <dgm:t>
        <a:bodyPr/>
        <a:lstStyle/>
        <a:p>
          <a:r>
            <a:rPr lang="en-US" sz="1400"/>
            <a:t>N Gram Models , Hidden Markov Models are widely used.</a:t>
          </a:r>
          <a:endParaRPr lang="en-IN" sz="1400"/>
        </a:p>
      </dgm:t>
    </dgm:pt>
    <dgm:pt modelId="{34445804-9DDC-4C66-824E-7BC3BCD10786}" type="parTrans" cxnId="{43036523-5D66-436D-970A-3E5A4B2DAC64}">
      <dgm:prSet/>
      <dgm:spPr/>
      <dgm:t>
        <a:bodyPr/>
        <a:lstStyle/>
        <a:p>
          <a:endParaRPr lang="en-IN" sz="1400"/>
        </a:p>
      </dgm:t>
    </dgm:pt>
    <dgm:pt modelId="{5C2D0505-E8AE-4F10-B16A-46F713499809}" type="sibTrans" cxnId="{43036523-5D66-436D-970A-3E5A4B2DAC64}">
      <dgm:prSet/>
      <dgm:spPr/>
      <dgm:t>
        <a:bodyPr/>
        <a:lstStyle/>
        <a:p>
          <a:endParaRPr lang="en-IN" sz="1400"/>
        </a:p>
      </dgm:t>
    </dgm:pt>
    <dgm:pt modelId="{DBFDE3A0-25E5-4D67-873A-DBDCBB892D9D}">
      <dgm:prSet phldrT="[Text]" custT="1"/>
      <dgm:spPr/>
      <dgm:t>
        <a:bodyPr/>
        <a:lstStyle/>
        <a:p>
          <a:r>
            <a:rPr lang="en-US" sz="1400" b="0" i="0" dirty="0"/>
            <a:t>can be trained or fine-tuned on specific datasets or tasks to improve their performance</a:t>
          </a:r>
          <a:endParaRPr lang="en-IN" sz="1400" dirty="0"/>
        </a:p>
      </dgm:t>
    </dgm:pt>
    <dgm:pt modelId="{8BF9F8DB-03E5-4E1B-AB44-6367B7356917}" type="parTrans" cxnId="{A0697947-8F31-476E-8396-D167BA75FFE8}">
      <dgm:prSet/>
      <dgm:spPr/>
      <dgm:t>
        <a:bodyPr/>
        <a:lstStyle/>
        <a:p>
          <a:endParaRPr lang="en-IN" sz="1400"/>
        </a:p>
      </dgm:t>
    </dgm:pt>
    <dgm:pt modelId="{7C07C5BB-30A5-472A-9E57-055687F45124}" type="sibTrans" cxnId="{A0697947-8F31-476E-8396-D167BA75FFE8}">
      <dgm:prSet/>
      <dgm:spPr/>
      <dgm:t>
        <a:bodyPr/>
        <a:lstStyle/>
        <a:p>
          <a:endParaRPr lang="en-IN" sz="1400"/>
        </a:p>
      </dgm:t>
    </dgm:pt>
    <dgm:pt modelId="{CD0D22DD-C7E0-4CFC-A8BC-2A6C725A306B}">
      <dgm:prSet phldrT="[Text]" custT="1"/>
      <dgm:spPr/>
      <dgm:t>
        <a:bodyPr/>
        <a:lstStyle/>
        <a:p>
          <a:r>
            <a:rPr lang="en-IN" sz="1400" b="0" i="0"/>
            <a:t>Machine learning/ Deep Learning techniques </a:t>
          </a:r>
          <a:endParaRPr lang="en-IN" sz="1400"/>
        </a:p>
      </dgm:t>
    </dgm:pt>
    <dgm:pt modelId="{591FB4E3-2646-48DA-AB9F-10C45BECE64A}" type="parTrans" cxnId="{08203DD6-6C20-4861-852D-CB93EFC20029}">
      <dgm:prSet/>
      <dgm:spPr/>
      <dgm:t>
        <a:bodyPr/>
        <a:lstStyle/>
        <a:p>
          <a:endParaRPr lang="en-IN" sz="1400"/>
        </a:p>
      </dgm:t>
    </dgm:pt>
    <dgm:pt modelId="{A1207C3C-34A6-42AC-9ADB-B23D46015B68}" type="sibTrans" cxnId="{08203DD6-6C20-4861-852D-CB93EFC20029}">
      <dgm:prSet/>
      <dgm:spPr/>
      <dgm:t>
        <a:bodyPr/>
        <a:lstStyle/>
        <a:p>
          <a:endParaRPr lang="en-IN" sz="1400"/>
        </a:p>
      </dgm:t>
    </dgm:pt>
    <dgm:pt modelId="{88265A41-CF17-4F87-B369-7119A87D2BEE}">
      <dgm:prSet phldrT="[Text]" custT="1"/>
      <dgm:spPr/>
      <dgm:t>
        <a:bodyPr/>
        <a:lstStyle/>
        <a:p>
          <a:r>
            <a:rPr lang="en-US" sz="1400"/>
            <a:t>Data driven approach</a:t>
          </a:r>
          <a:endParaRPr lang="en-IN" sz="1400"/>
        </a:p>
      </dgm:t>
    </dgm:pt>
    <dgm:pt modelId="{58D18051-D0DB-43D1-A9AC-EE47B4642F8C}" type="parTrans" cxnId="{337FAF14-C71D-4000-B642-D00EC90B93FD}">
      <dgm:prSet/>
      <dgm:spPr/>
      <dgm:t>
        <a:bodyPr/>
        <a:lstStyle/>
        <a:p>
          <a:endParaRPr lang="en-IN" sz="1400"/>
        </a:p>
      </dgm:t>
    </dgm:pt>
    <dgm:pt modelId="{FA34D26D-E831-40D0-955E-811949D2B479}" type="sibTrans" cxnId="{337FAF14-C71D-4000-B642-D00EC90B93FD}">
      <dgm:prSet/>
      <dgm:spPr/>
      <dgm:t>
        <a:bodyPr/>
        <a:lstStyle/>
        <a:p>
          <a:endParaRPr lang="en-IN" sz="1400"/>
        </a:p>
      </dgm:t>
    </dgm:pt>
    <dgm:pt modelId="{A5E25908-1919-42DA-B5CD-39F0755EB7F3}">
      <dgm:prSet phldrT="[Text]" custT="1"/>
      <dgm:spPr/>
      <dgm:t>
        <a:bodyPr/>
        <a:lstStyle/>
        <a:p>
          <a:r>
            <a:rPr lang="en-US" sz="2000" dirty="0"/>
            <a:t>Hybrid NLG</a:t>
          </a:r>
          <a:endParaRPr lang="en-IN" sz="2000" dirty="0"/>
        </a:p>
      </dgm:t>
    </dgm:pt>
    <dgm:pt modelId="{887374D8-74D5-4D0B-9F5E-991A284B27B3}" type="parTrans" cxnId="{C8F19699-159B-4AB9-AA66-7181BC0AD36B}">
      <dgm:prSet/>
      <dgm:spPr/>
      <dgm:t>
        <a:bodyPr/>
        <a:lstStyle/>
        <a:p>
          <a:endParaRPr lang="en-IN" sz="1400"/>
        </a:p>
      </dgm:t>
    </dgm:pt>
    <dgm:pt modelId="{491D5D61-B75E-4C04-941D-4DF4113B958E}" type="sibTrans" cxnId="{C8F19699-159B-4AB9-AA66-7181BC0AD36B}">
      <dgm:prSet/>
      <dgm:spPr/>
      <dgm:t>
        <a:bodyPr/>
        <a:lstStyle/>
        <a:p>
          <a:endParaRPr lang="en-IN" sz="1400"/>
        </a:p>
      </dgm:t>
    </dgm:pt>
    <dgm:pt modelId="{363FF571-D7D1-4683-BA44-6EFF3C054C6F}">
      <dgm:prSet phldrT="[Text]" custT="1"/>
      <dgm:spPr/>
      <dgm:t>
        <a:bodyPr/>
        <a:lstStyle/>
        <a:p>
          <a:r>
            <a:rPr lang="en-US" sz="1400" b="0" i="0" dirty="0"/>
            <a:t>systems integrate multiple NLG methods, such as template-based, rule-based, statistical, or deep learning approaches, to achieve more robust and versatile text generation capabilities.</a:t>
          </a:r>
          <a:endParaRPr lang="en-IN" sz="1400" dirty="0"/>
        </a:p>
      </dgm:t>
    </dgm:pt>
    <dgm:pt modelId="{D7E8A1FD-26F2-46A2-9102-CA3373AC41F8}" type="parTrans" cxnId="{86C98A37-9F16-42AB-8DF7-F0BF3A117ECD}">
      <dgm:prSet/>
      <dgm:spPr/>
      <dgm:t>
        <a:bodyPr/>
        <a:lstStyle/>
        <a:p>
          <a:endParaRPr lang="en-IN" sz="1400"/>
        </a:p>
      </dgm:t>
    </dgm:pt>
    <dgm:pt modelId="{2093C75A-63D3-4BAA-B7F7-70567167D8B6}" type="sibTrans" cxnId="{86C98A37-9F16-42AB-8DF7-F0BF3A117ECD}">
      <dgm:prSet/>
      <dgm:spPr/>
      <dgm:t>
        <a:bodyPr/>
        <a:lstStyle/>
        <a:p>
          <a:endParaRPr lang="en-IN" sz="1400"/>
        </a:p>
      </dgm:t>
    </dgm:pt>
    <dgm:pt modelId="{408A59FA-6614-432D-B838-86F46421F8D5}" type="pres">
      <dgm:prSet presAssocID="{F86963B2-92CA-4926-81A1-75B40B935EDD}" presName="Name0" presStyleCnt="0">
        <dgm:presLayoutVars>
          <dgm:dir/>
          <dgm:animLvl val="lvl"/>
          <dgm:resizeHandles val="exact"/>
        </dgm:presLayoutVars>
      </dgm:prSet>
      <dgm:spPr/>
    </dgm:pt>
    <dgm:pt modelId="{C7672DF5-D4DB-42D9-98FE-DD9F6B61FE4B}" type="pres">
      <dgm:prSet presAssocID="{A0DEC140-EED6-4CAC-A3CC-77694C73C2EC}" presName="linNode" presStyleCnt="0"/>
      <dgm:spPr/>
    </dgm:pt>
    <dgm:pt modelId="{595A4D57-DF02-45FE-95E4-983C80BEC0C3}" type="pres">
      <dgm:prSet presAssocID="{A0DEC140-EED6-4CAC-A3CC-77694C73C2EC}" presName="parentText" presStyleLbl="alignNode1" presStyleIdx="0" presStyleCnt="5">
        <dgm:presLayoutVars>
          <dgm:chMax val="1"/>
          <dgm:bulletEnabled/>
        </dgm:presLayoutVars>
      </dgm:prSet>
      <dgm:spPr/>
    </dgm:pt>
    <dgm:pt modelId="{01423E55-EE57-410A-9197-4FFA95281BC2}" type="pres">
      <dgm:prSet presAssocID="{A0DEC140-EED6-4CAC-A3CC-77694C73C2EC}" presName="descendantText" presStyleLbl="alignAccFollowNode1" presStyleIdx="0" presStyleCnt="5">
        <dgm:presLayoutVars>
          <dgm:bulletEnabled/>
        </dgm:presLayoutVars>
      </dgm:prSet>
      <dgm:spPr/>
    </dgm:pt>
    <dgm:pt modelId="{7C014EE3-79E2-4B8E-8BF5-E091E5109619}" type="pres">
      <dgm:prSet presAssocID="{FAB44D2F-70E5-44E2-9994-4D8503EB14AE}" presName="sp" presStyleCnt="0"/>
      <dgm:spPr/>
    </dgm:pt>
    <dgm:pt modelId="{802C9BE4-622D-4D23-AEFC-D85DD7CB2EA0}" type="pres">
      <dgm:prSet presAssocID="{AEDAA6C1-41D1-4564-8AED-EB75B5E3BB07}" presName="linNode" presStyleCnt="0"/>
      <dgm:spPr/>
    </dgm:pt>
    <dgm:pt modelId="{350BEB63-55F0-41E1-8A81-099953FEDEA1}" type="pres">
      <dgm:prSet presAssocID="{AEDAA6C1-41D1-4564-8AED-EB75B5E3BB07}" presName="parentText" presStyleLbl="alignNode1" presStyleIdx="1" presStyleCnt="5">
        <dgm:presLayoutVars>
          <dgm:chMax val="1"/>
          <dgm:bulletEnabled/>
        </dgm:presLayoutVars>
      </dgm:prSet>
      <dgm:spPr/>
    </dgm:pt>
    <dgm:pt modelId="{1CBAB366-2098-4987-A250-A44D1D60944F}" type="pres">
      <dgm:prSet presAssocID="{AEDAA6C1-41D1-4564-8AED-EB75B5E3BB07}" presName="descendantText" presStyleLbl="alignAccFollowNode1" presStyleIdx="1" presStyleCnt="5">
        <dgm:presLayoutVars>
          <dgm:bulletEnabled/>
        </dgm:presLayoutVars>
      </dgm:prSet>
      <dgm:spPr/>
    </dgm:pt>
    <dgm:pt modelId="{5A520B0E-C443-4C02-B47C-F18B861E465D}" type="pres">
      <dgm:prSet presAssocID="{90780BB0-E0FE-466D-B6D7-C4DBDA8A6BBE}" presName="sp" presStyleCnt="0"/>
      <dgm:spPr/>
    </dgm:pt>
    <dgm:pt modelId="{C9DDBDA8-0FB1-4606-83BF-9620570C5C4E}" type="pres">
      <dgm:prSet presAssocID="{656CA0C4-0F99-455B-A403-944F11CA3554}" presName="linNode" presStyleCnt="0"/>
      <dgm:spPr/>
    </dgm:pt>
    <dgm:pt modelId="{2A71BCCA-E3D2-4AFE-9518-438B47F2A885}" type="pres">
      <dgm:prSet presAssocID="{656CA0C4-0F99-455B-A403-944F11CA3554}" presName="parentText" presStyleLbl="alignNode1" presStyleIdx="2" presStyleCnt="5">
        <dgm:presLayoutVars>
          <dgm:chMax val="1"/>
          <dgm:bulletEnabled/>
        </dgm:presLayoutVars>
      </dgm:prSet>
      <dgm:spPr/>
    </dgm:pt>
    <dgm:pt modelId="{F38948F3-8AAA-4380-8306-707723602AFE}" type="pres">
      <dgm:prSet presAssocID="{656CA0C4-0F99-455B-A403-944F11CA3554}" presName="descendantText" presStyleLbl="alignAccFollowNode1" presStyleIdx="2" presStyleCnt="5">
        <dgm:presLayoutVars>
          <dgm:bulletEnabled/>
        </dgm:presLayoutVars>
      </dgm:prSet>
      <dgm:spPr/>
    </dgm:pt>
    <dgm:pt modelId="{F00EF305-51BF-423E-A84D-BBA24D440578}" type="pres">
      <dgm:prSet presAssocID="{1DEF0F25-B1EE-44C8-9818-3CA3A2BF50E1}" presName="sp" presStyleCnt="0"/>
      <dgm:spPr/>
    </dgm:pt>
    <dgm:pt modelId="{989D8C62-1273-409E-BD25-E3B276A985CF}" type="pres">
      <dgm:prSet presAssocID="{78A1848F-604E-4F78-A361-A0527EFAE7B5}" presName="linNode" presStyleCnt="0"/>
      <dgm:spPr/>
    </dgm:pt>
    <dgm:pt modelId="{924E3E6A-DEED-4F88-9230-64070AE087B3}" type="pres">
      <dgm:prSet presAssocID="{78A1848F-604E-4F78-A361-A0527EFAE7B5}" presName="parentText" presStyleLbl="alignNode1" presStyleIdx="3" presStyleCnt="5">
        <dgm:presLayoutVars>
          <dgm:chMax val="1"/>
          <dgm:bulletEnabled/>
        </dgm:presLayoutVars>
      </dgm:prSet>
      <dgm:spPr/>
    </dgm:pt>
    <dgm:pt modelId="{1BCD405E-DD95-489E-9572-C36DD35E350C}" type="pres">
      <dgm:prSet presAssocID="{78A1848F-604E-4F78-A361-A0527EFAE7B5}" presName="descendantText" presStyleLbl="alignAccFollowNode1" presStyleIdx="3" presStyleCnt="5">
        <dgm:presLayoutVars>
          <dgm:bulletEnabled/>
        </dgm:presLayoutVars>
      </dgm:prSet>
      <dgm:spPr/>
    </dgm:pt>
    <dgm:pt modelId="{02D06499-AC6D-464F-94A9-F801CAE89B5E}" type="pres">
      <dgm:prSet presAssocID="{AB2B34D9-359E-4073-938B-74BC2FE643A7}" presName="sp" presStyleCnt="0"/>
      <dgm:spPr/>
    </dgm:pt>
    <dgm:pt modelId="{2C5B5082-4AE9-45BD-8276-2991B16A430D}" type="pres">
      <dgm:prSet presAssocID="{A5E25908-1919-42DA-B5CD-39F0755EB7F3}" presName="linNode" presStyleCnt="0"/>
      <dgm:spPr/>
    </dgm:pt>
    <dgm:pt modelId="{5D0D56EE-9DF4-494D-811A-0B9CFBEBE92C}" type="pres">
      <dgm:prSet presAssocID="{A5E25908-1919-42DA-B5CD-39F0755EB7F3}" presName="parentText" presStyleLbl="alignNode1" presStyleIdx="4" presStyleCnt="5">
        <dgm:presLayoutVars>
          <dgm:chMax val="1"/>
          <dgm:bulletEnabled/>
        </dgm:presLayoutVars>
      </dgm:prSet>
      <dgm:spPr/>
    </dgm:pt>
    <dgm:pt modelId="{B91B6D77-896B-4A81-A5D5-978A825F5466}" type="pres">
      <dgm:prSet presAssocID="{A5E25908-1919-42DA-B5CD-39F0755EB7F3}" presName="descendantText" presStyleLbl="alignAccFollowNode1" presStyleIdx="4" presStyleCnt="5">
        <dgm:presLayoutVars>
          <dgm:bulletEnabled/>
        </dgm:presLayoutVars>
      </dgm:prSet>
      <dgm:spPr/>
    </dgm:pt>
  </dgm:ptLst>
  <dgm:cxnLst>
    <dgm:cxn modelId="{BABA2C0D-9C64-4803-8AAD-27E023715A2D}" type="presOf" srcId="{91B42210-7535-4ADB-9A0A-71C68EEC6778}" destId="{1CBAB366-2098-4987-A250-A44D1D60944F}" srcOrd="0" destOrd="0" presId="urn:microsoft.com/office/officeart/2016/7/layout/VerticalSolidActionList"/>
    <dgm:cxn modelId="{F3720512-70C2-4C86-BF8C-5D152F314288}" srcId="{F86963B2-92CA-4926-81A1-75B40B935EDD}" destId="{656CA0C4-0F99-455B-A403-944F11CA3554}" srcOrd="2" destOrd="0" parTransId="{40AB9536-62A9-4F86-8EFF-72F0BC8E9F94}" sibTransId="{1DEF0F25-B1EE-44C8-9818-3CA3A2BF50E1}"/>
    <dgm:cxn modelId="{6151A713-CA0B-4F21-942C-ABADA6871163}" type="presOf" srcId="{A914F4B6-EA2E-47BD-9C03-847DD1AE2F99}" destId="{1CBAB366-2098-4987-A250-A44D1D60944F}" srcOrd="0" destOrd="2" presId="urn:microsoft.com/office/officeart/2016/7/layout/VerticalSolidActionList"/>
    <dgm:cxn modelId="{337FAF14-C71D-4000-B642-D00EC90B93FD}" srcId="{78A1848F-604E-4F78-A361-A0527EFAE7B5}" destId="{88265A41-CF17-4F87-B369-7119A87D2BEE}" srcOrd="2" destOrd="0" parTransId="{58D18051-D0DB-43D1-A9AC-EE47B4642F8C}" sibTransId="{FA34D26D-E831-40D0-955E-811949D2B479}"/>
    <dgm:cxn modelId="{7BB2051B-3ACF-44A0-A67D-294C252BFB79}" type="presOf" srcId="{381AFBD6-7CD7-4865-9AFB-827CBCFF2228}" destId="{1CBAB366-2098-4987-A250-A44D1D60944F}" srcOrd="0" destOrd="1" presId="urn:microsoft.com/office/officeart/2016/7/layout/VerticalSolidActionList"/>
    <dgm:cxn modelId="{2611851C-BB99-4B7C-A465-D3EBD9A7ADC6}" srcId="{A0DEC140-EED6-4CAC-A3CC-77694C73C2EC}" destId="{A430991D-A550-4154-8D65-A10AB1B6CBC3}" srcOrd="0" destOrd="0" parTransId="{35F78F66-11F6-4FC4-9175-69BD426464F5}" sibTransId="{11FE9F1B-4D8B-4519-8CEE-A2E0E4B51919}"/>
    <dgm:cxn modelId="{3ABA5D1F-BBA1-4B21-8A21-4E397197BF81}" type="presOf" srcId="{CD0D22DD-C7E0-4CFC-A8BC-2A6C725A306B}" destId="{1BCD405E-DD95-489E-9572-C36DD35E350C}" srcOrd="0" destOrd="1" presId="urn:microsoft.com/office/officeart/2016/7/layout/VerticalSolidActionList"/>
    <dgm:cxn modelId="{43036523-5D66-436D-970A-3E5A4B2DAC64}" srcId="{656CA0C4-0F99-455B-A403-944F11CA3554}" destId="{C23CD6FF-E0D2-480D-901E-651472C0D18A}" srcOrd="2" destOrd="0" parTransId="{34445804-9DDC-4C66-824E-7BC3BCD10786}" sibTransId="{5C2D0505-E8AE-4F10-B16A-46F713499809}"/>
    <dgm:cxn modelId="{E84CCB32-640D-4B3D-A7F8-F2627CCBEE0D}" type="presOf" srcId="{A34A2EC4-279A-44A6-A9BE-175F01916B26}" destId="{01423E55-EE57-410A-9197-4FFA95281BC2}" srcOrd="0" destOrd="1" presId="urn:microsoft.com/office/officeart/2016/7/layout/VerticalSolidActionList"/>
    <dgm:cxn modelId="{E7952D33-F708-47EE-9405-C670673D2827}" type="presOf" srcId="{DBFDE3A0-25E5-4D67-873A-DBDCBB892D9D}" destId="{1BCD405E-DD95-489E-9572-C36DD35E350C}" srcOrd="0" destOrd="0" presId="urn:microsoft.com/office/officeart/2016/7/layout/VerticalSolidActionList"/>
    <dgm:cxn modelId="{86C98A37-9F16-42AB-8DF7-F0BF3A117ECD}" srcId="{A5E25908-1919-42DA-B5CD-39F0755EB7F3}" destId="{363FF571-D7D1-4683-BA44-6EFF3C054C6F}" srcOrd="0" destOrd="0" parTransId="{D7E8A1FD-26F2-46A2-9102-CA3373AC41F8}" sibTransId="{2093C75A-63D3-4BAA-B7F7-70567167D8B6}"/>
    <dgm:cxn modelId="{4353545D-E297-4213-A541-69E858AD5C7C}" srcId="{AEDAA6C1-41D1-4564-8AED-EB75B5E3BB07}" destId="{A914F4B6-EA2E-47BD-9C03-847DD1AE2F99}" srcOrd="2" destOrd="0" parTransId="{DBEDD0B3-C5EB-4918-942F-567CD24F4C3B}" sibTransId="{40BE13D8-2DB6-4D19-851B-220C7780DBC4}"/>
    <dgm:cxn modelId="{6D053E5E-ACA7-4D13-83A9-03AA9C472A6C}" type="presOf" srcId="{959EC4AF-C45D-4BD2-849F-E2E6A2E3359B}" destId="{01423E55-EE57-410A-9197-4FFA95281BC2}" srcOrd="0" destOrd="2" presId="urn:microsoft.com/office/officeart/2016/7/layout/VerticalSolidActionList"/>
    <dgm:cxn modelId="{AA250061-71FA-4099-A6AC-35E4F9A0973B}" srcId="{F86963B2-92CA-4926-81A1-75B40B935EDD}" destId="{AEDAA6C1-41D1-4564-8AED-EB75B5E3BB07}" srcOrd="1" destOrd="0" parTransId="{786380B4-104C-44DE-8661-67FBC5170645}" sibTransId="{90780BB0-E0FE-466D-B6D7-C4DBDA8A6BBE}"/>
    <dgm:cxn modelId="{A0697947-8F31-476E-8396-D167BA75FFE8}" srcId="{78A1848F-604E-4F78-A361-A0527EFAE7B5}" destId="{DBFDE3A0-25E5-4D67-873A-DBDCBB892D9D}" srcOrd="0" destOrd="0" parTransId="{8BF9F8DB-03E5-4E1B-AB44-6367B7356917}" sibTransId="{7C07C5BB-30A5-472A-9E57-055687F45124}"/>
    <dgm:cxn modelId="{FCC99148-27DC-449E-89A7-0481CB8152E3}" srcId="{656CA0C4-0F99-455B-A403-944F11CA3554}" destId="{24837979-5B67-4CC9-9EA0-5880BD8F35F3}" srcOrd="0" destOrd="0" parTransId="{9BD5AD2B-E6FE-4326-9B19-EA5815B5580B}" sibTransId="{8B956232-3577-41DD-A862-E5292AD96F9D}"/>
    <dgm:cxn modelId="{3CA49069-60EA-4E24-BB9E-808A49DCD669}" srcId="{F86963B2-92CA-4926-81A1-75B40B935EDD}" destId="{A0DEC140-EED6-4CAC-A3CC-77694C73C2EC}" srcOrd="0" destOrd="0" parTransId="{69CEF915-8F51-417B-83D3-EE7AB2CBDAD1}" sibTransId="{FAB44D2F-70E5-44E2-9994-4D8503EB14AE}"/>
    <dgm:cxn modelId="{521EAC7F-B8CF-4530-A77D-BBD499E8618E}" type="presOf" srcId="{E182B74F-7D97-40AA-A6FA-0B2B0BE6FE87}" destId="{F38948F3-8AAA-4380-8306-707723602AFE}" srcOrd="0" destOrd="1" presId="urn:microsoft.com/office/officeart/2016/7/layout/VerticalSolidActionList"/>
    <dgm:cxn modelId="{6E544089-A844-4273-A64B-D24D6C3259B5}" type="presOf" srcId="{656CA0C4-0F99-455B-A403-944F11CA3554}" destId="{2A71BCCA-E3D2-4AFE-9518-438B47F2A885}" srcOrd="0" destOrd="0" presId="urn:microsoft.com/office/officeart/2016/7/layout/VerticalSolidActionList"/>
    <dgm:cxn modelId="{2B42D38B-B62B-4A59-B3DD-C8C5267AF189}" type="presOf" srcId="{F86963B2-92CA-4926-81A1-75B40B935EDD}" destId="{408A59FA-6614-432D-B838-86F46421F8D5}" srcOrd="0" destOrd="0" presId="urn:microsoft.com/office/officeart/2016/7/layout/VerticalSolidActionList"/>
    <dgm:cxn modelId="{F9870392-CF1B-46B2-9565-FA21DFCDC4F3}" type="presOf" srcId="{AEDAA6C1-41D1-4564-8AED-EB75B5E3BB07}" destId="{350BEB63-55F0-41E1-8A81-099953FEDEA1}" srcOrd="0" destOrd="0" presId="urn:microsoft.com/office/officeart/2016/7/layout/VerticalSolidActionList"/>
    <dgm:cxn modelId="{40711292-3C4B-4E50-8C49-E7BEF8B067FC}" type="presOf" srcId="{A5E25908-1919-42DA-B5CD-39F0755EB7F3}" destId="{5D0D56EE-9DF4-494D-811A-0B9CFBEBE92C}" srcOrd="0" destOrd="0" presId="urn:microsoft.com/office/officeart/2016/7/layout/VerticalSolidActionList"/>
    <dgm:cxn modelId="{E31FDF98-D1D3-4472-8D47-A912030DF646}" srcId="{AEDAA6C1-41D1-4564-8AED-EB75B5E3BB07}" destId="{381AFBD6-7CD7-4865-9AFB-827CBCFF2228}" srcOrd="1" destOrd="0" parTransId="{DDCE0457-8686-4037-BDCA-068E5DF60DFD}" sibTransId="{B6C45456-9E8C-4EE3-A65D-3BB99F0E164D}"/>
    <dgm:cxn modelId="{C8F19699-159B-4AB9-AA66-7181BC0AD36B}" srcId="{F86963B2-92CA-4926-81A1-75B40B935EDD}" destId="{A5E25908-1919-42DA-B5CD-39F0755EB7F3}" srcOrd="4" destOrd="0" parTransId="{887374D8-74D5-4D0B-9F5E-991A284B27B3}" sibTransId="{491D5D61-B75E-4C04-941D-4DF4113B958E}"/>
    <dgm:cxn modelId="{8B0548AA-3664-4DAB-AB45-05868946FB43}" srcId="{A0DEC140-EED6-4CAC-A3CC-77694C73C2EC}" destId="{A34A2EC4-279A-44A6-A9BE-175F01916B26}" srcOrd="1" destOrd="0" parTransId="{8E810406-8794-4ACC-898D-269A28D483AE}" sibTransId="{96C2BD54-ED47-42D5-94CE-760C37E45F2F}"/>
    <dgm:cxn modelId="{431C78B7-3FF1-4637-A4CF-BD24D68D3BC0}" srcId="{F86963B2-92CA-4926-81A1-75B40B935EDD}" destId="{78A1848F-604E-4F78-A361-A0527EFAE7B5}" srcOrd="3" destOrd="0" parTransId="{78517862-E0BB-47AE-A4F2-492BF26A1284}" sibTransId="{AB2B34D9-359E-4073-938B-74BC2FE643A7}"/>
    <dgm:cxn modelId="{C4319CB7-3834-4EA1-8A00-1D14C68036D4}" type="presOf" srcId="{24837979-5B67-4CC9-9EA0-5880BD8F35F3}" destId="{F38948F3-8AAA-4380-8306-707723602AFE}" srcOrd="0" destOrd="0" presId="urn:microsoft.com/office/officeart/2016/7/layout/VerticalSolidActionList"/>
    <dgm:cxn modelId="{240191B9-E5E6-4D38-8F32-E2F3C64A53B9}" type="presOf" srcId="{A430991D-A550-4154-8D65-A10AB1B6CBC3}" destId="{01423E55-EE57-410A-9197-4FFA95281BC2}" srcOrd="0" destOrd="0" presId="urn:microsoft.com/office/officeart/2016/7/layout/VerticalSolidActionList"/>
    <dgm:cxn modelId="{2732FEBB-72AB-4B9B-8E64-6A36760F2531}" srcId="{A0DEC140-EED6-4CAC-A3CC-77694C73C2EC}" destId="{959EC4AF-C45D-4BD2-849F-E2E6A2E3359B}" srcOrd="2" destOrd="0" parTransId="{1E3E55FD-4A38-4B92-BA8F-2E9B0EF329E8}" sibTransId="{A6CD30E6-AF1F-4A8E-83EB-99D9DE11EC9D}"/>
    <dgm:cxn modelId="{72DE9DD4-53CC-4C63-80E3-A7A1063A138F}" type="presOf" srcId="{A0DEC140-EED6-4CAC-A3CC-77694C73C2EC}" destId="{595A4D57-DF02-45FE-95E4-983C80BEC0C3}" srcOrd="0" destOrd="0" presId="urn:microsoft.com/office/officeart/2016/7/layout/VerticalSolidActionList"/>
    <dgm:cxn modelId="{08203DD6-6C20-4861-852D-CB93EFC20029}" srcId="{78A1848F-604E-4F78-A361-A0527EFAE7B5}" destId="{CD0D22DD-C7E0-4CFC-A8BC-2A6C725A306B}" srcOrd="1" destOrd="0" parTransId="{591FB4E3-2646-48DA-AB9F-10C45BECE64A}" sibTransId="{A1207C3C-34A6-42AC-9ADB-B23D46015B68}"/>
    <dgm:cxn modelId="{2CD86DD9-4C67-436C-82B0-9D9419028BE4}" srcId="{656CA0C4-0F99-455B-A403-944F11CA3554}" destId="{E182B74F-7D97-40AA-A6FA-0B2B0BE6FE87}" srcOrd="1" destOrd="0" parTransId="{1AB388B5-9866-41ED-AE95-B22211EF8554}" sibTransId="{DB469188-986B-4948-9AD1-61536599C5C1}"/>
    <dgm:cxn modelId="{FBD6EDD9-D128-4398-9DDC-4DD8DC9F0279}" type="presOf" srcId="{C23CD6FF-E0D2-480D-901E-651472C0D18A}" destId="{F38948F3-8AAA-4380-8306-707723602AFE}" srcOrd="0" destOrd="2" presId="urn:microsoft.com/office/officeart/2016/7/layout/VerticalSolidActionList"/>
    <dgm:cxn modelId="{25DD5AE3-D09C-425E-8034-B2729FEEC52B}" type="presOf" srcId="{363FF571-D7D1-4683-BA44-6EFF3C054C6F}" destId="{B91B6D77-896B-4A81-A5D5-978A825F5466}" srcOrd="0" destOrd="0" presId="urn:microsoft.com/office/officeart/2016/7/layout/VerticalSolidActionList"/>
    <dgm:cxn modelId="{CB0DC7E3-F925-4466-B07A-9C5D20591BF9}" type="presOf" srcId="{88265A41-CF17-4F87-B369-7119A87D2BEE}" destId="{1BCD405E-DD95-489E-9572-C36DD35E350C}" srcOrd="0" destOrd="2" presId="urn:microsoft.com/office/officeart/2016/7/layout/VerticalSolidActionList"/>
    <dgm:cxn modelId="{D808EAED-2E5D-4D30-BED5-2F7C63EF3258}" type="presOf" srcId="{78A1848F-604E-4F78-A361-A0527EFAE7B5}" destId="{924E3E6A-DEED-4F88-9230-64070AE087B3}" srcOrd="0" destOrd="0" presId="urn:microsoft.com/office/officeart/2016/7/layout/VerticalSolidActionList"/>
    <dgm:cxn modelId="{B88AF3F9-09FB-4F65-A9D9-65322F4FD4AB}" srcId="{AEDAA6C1-41D1-4564-8AED-EB75B5E3BB07}" destId="{91B42210-7535-4ADB-9A0A-71C68EEC6778}" srcOrd="0" destOrd="0" parTransId="{E987EFCE-D599-4769-B94C-AE2D59A3158B}" sibTransId="{A0BB2487-C81E-4512-AE93-4A92037ED6A9}"/>
    <dgm:cxn modelId="{336A668A-04B5-4E54-808A-F36A7E88957D}" type="presParOf" srcId="{408A59FA-6614-432D-B838-86F46421F8D5}" destId="{C7672DF5-D4DB-42D9-98FE-DD9F6B61FE4B}" srcOrd="0" destOrd="0" presId="urn:microsoft.com/office/officeart/2016/7/layout/VerticalSolidActionList"/>
    <dgm:cxn modelId="{AE324B40-07CE-4D8F-ACE8-60915BD46ABC}" type="presParOf" srcId="{C7672DF5-D4DB-42D9-98FE-DD9F6B61FE4B}" destId="{595A4D57-DF02-45FE-95E4-983C80BEC0C3}" srcOrd="0" destOrd="0" presId="urn:microsoft.com/office/officeart/2016/7/layout/VerticalSolidActionList"/>
    <dgm:cxn modelId="{39FFC4E1-9923-48E0-99ED-B167B9759B40}" type="presParOf" srcId="{C7672DF5-D4DB-42D9-98FE-DD9F6B61FE4B}" destId="{01423E55-EE57-410A-9197-4FFA95281BC2}" srcOrd="1" destOrd="0" presId="urn:microsoft.com/office/officeart/2016/7/layout/VerticalSolidActionList"/>
    <dgm:cxn modelId="{358B22C1-36B7-4D8B-A933-D160E233518E}" type="presParOf" srcId="{408A59FA-6614-432D-B838-86F46421F8D5}" destId="{7C014EE3-79E2-4B8E-8BF5-E091E5109619}" srcOrd="1" destOrd="0" presId="urn:microsoft.com/office/officeart/2016/7/layout/VerticalSolidActionList"/>
    <dgm:cxn modelId="{D04B1B6B-7F2A-4001-91CC-32E1B65FD247}" type="presParOf" srcId="{408A59FA-6614-432D-B838-86F46421F8D5}" destId="{802C9BE4-622D-4D23-AEFC-D85DD7CB2EA0}" srcOrd="2" destOrd="0" presId="urn:microsoft.com/office/officeart/2016/7/layout/VerticalSolidActionList"/>
    <dgm:cxn modelId="{44232CD0-1510-47E1-BF4F-CF3A8B81C98E}" type="presParOf" srcId="{802C9BE4-622D-4D23-AEFC-D85DD7CB2EA0}" destId="{350BEB63-55F0-41E1-8A81-099953FEDEA1}" srcOrd="0" destOrd="0" presId="urn:microsoft.com/office/officeart/2016/7/layout/VerticalSolidActionList"/>
    <dgm:cxn modelId="{F629D8BF-3CBC-411C-984D-6E98EE65C093}" type="presParOf" srcId="{802C9BE4-622D-4D23-AEFC-D85DD7CB2EA0}" destId="{1CBAB366-2098-4987-A250-A44D1D60944F}" srcOrd="1" destOrd="0" presId="urn:microsoft.com/office/officeart/2016/7/layout/VerticalSolidActionList"/>
    <dgm:cxn modelId="{BC3385B0-89DC-4454-AC8A-5CCD9E676A63}" type="presParOf" srcId="{408A59FA-6614-432D-B838-86F46421F8D5}" destId="{5A520B0E-C443-4C02-B47C-F18B861E465D}" srcOrd="3" destOrd="0" presId="urn:microsoft.com/office/officeart/2016/7/layout/VerticalSolidActionList"/>
    <dgm:cxn modelId="{17406A60-44CF-47B8-B441-C3B21037698D}" type="presParOf" srcId="{408A59FA-6614-432D-B838-86F46421F8D5}" destId="{C9DDBDA8-0FB1-4606-83BF-9620570C5C4E}" srcOrd="4" destOrd="0" presId="urn:microsoft.com/office/officeart/2016/7/layout/VerticalSolidActionList"/>
    <dgm:cxn modelId="{3D02A4B1-45EA-41A0-8821-6886853C0735}" type="presParOf" srcId="{C9DDBDA8-0FB1-4606-83BF-9620570C5C4E}" destId="{2A71BCCA-E3D2-4AFE-9518-438B47F2A885}" srcOrd="0" destOrd="0" presId="urn:microsoft.com/office/officeart/2016/7/layout/VerticalSolidActionList"/>
    <dgm:cxn modelId="{10E0A452-BD80-44EF-B1DE-F776BBB10CCF}" type="presParOf" srcId="{C9DDBDA8-0FB1-4606-83BF-9620570C5C4E}" destId="{F38948F3-8AAA-4380-8306-707723602AFE}" srcOrd="1" destOrd="0" presId="urn:microsoft.com/office/officeart/2016/7/layout/VerticalSolidActionList"/>
    <dgm:cxn modelId="{D032040E-1DDB-4A90-B8C3-FCB3B1E1160F}" type="presParOf" srcId="{408A59FA-6614-432D-B838-86F46421F8D5}" destId="{F00EF305-51BF-423E-A84D-BBA24D440578}" srcOrd="5" destOrd="0" presId="urn:microsoft.com/office/officeart/2016/7/layout/VerticalSolidActionList"/>
    <dgm:cxn modelId="{B934A0C0-7352-432F-AF3B-39AF120D103A}" type="presParOf" srcId="{408A59FA-6614-432D-B838-86F46421F8D5}" destId="{989D8C62-1273-409E-BD25-E3B276A985CF}" srcOrd="6" destOrd="0" presId="urn:microsoft.com/office/officeart/2016/7/layout/VerticalSolidActionList"/>
    <dgm:cxn modelId="{5F173F1A-EF75-40EF-A46A-F2634ED848C8}" type="presParOf" srcId="{989D8C62-1273-409E-BD25-E3B276A985CF}" destId="{924E3E6A-DEED-4F88-9230-64070AE087B3}" srcOrd="0" destOrd="0" presId="urn:microsoft.com/office/officeart/2016/7/layout/VerticalSolidActionList"/>
    <dgm:cxn modelId="{2DCEE234-5198-44EF-9560-AFA95A3DD7FE}" type="presParOf" srcId="{989D8C62-1273-409E-BD25-E3B276A985CF}" destId="{1BCD405E-DD95-489E-9572-C36DD35E350C}" srcOrd="1" destOrd="0" presId="urn:microsoft.com/office/officeart/2016/7/layout/VerticalSolidActionList"/>
    <dgm:cxn modelId="{F6EF4CA3-D35F-405E-9B56-0A1467E730FE}" type="presParOf" srcId="{408A59FA-6614-432D-B838-86F46421F8D5}" destId="{02D06499-AC6D-464F-94A9-F801CAE89B5E}" srcOrd="7" destOrd="0" presId="urn:microsoft.com/office/officeart/2016/7/layout/VerticalSolidActionList"/>
    <dgm:cxn modelId="{E35E129B-A4F2-4DA8-BD61-C053C060E161}" type="presParOf" srcId="{408A59FA-6614-432D-B838-86F46421F8D5}" destId="{2C5B5082-4AE9-45BD-8276-2991B16A430D}" srcOrd="8" destOrd="0" presId="urn:microsoft.com/office/officeart/2016/7/layout/VerticalSolidActionList"/>
    <dgm:cxn modelId="{C69E3377-B820-43F0-9DEB-7DE018FE497A}" type="presParOf" srcId="{2C5B5082-4AE9-45BD-8276-2991B16A430D}" destId="{5D0D56EE-9DF4-494D-811A-0B9CFBEBE92C}" srcOrd="0" destOrd="0" presId="urn:microsoft.com/office/officeart/2016/7/layout/VerticalSolidActionList"/>
    <dgm:cxn modelId="{8DC03229-3116-4B29-A81D-3304322F7B4E}" type="presParOf" srcId="{2C5B5082-4AE9-45BD-8276-2991B16A430D}" destId="{B91B6D77-896B-4A81-A5D5-978A825F5466}" srcOrd="1" destOrd="0" presId="urn:microsoft.com/office/officeart/2016/7/layout/VerticalSolid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D315BF3-C61E-4A6C-BFE0-A020BC774973}"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IN"/>
        </a:p>
      </dgm:t>
    </dgm:pt>
    <dgm:pt modelId="{FA767A91-4337-46A4-87E8-3B529C53E0F1}">
      <dgm:prSet phldrT="[Text]"/>
      <dgm:spPr/>
      <dgm:t>
        <a:bodyPr/>
        <a:lstStyle/>
        <a:p>
          <a:r>
            <a:rPr lang="en-IN" dirty="0"/>
            <a:t>NLTK</a:t>
          </a:r>
        </a:p>
      </dgm:t>
    </dgm:pt>
    <dgm:pt modelId="{3887826E-BCE0-4A2B-B3FC-72868CAC6DCE}" type="parTrans" cxnId="{1A072C41-DA54-48BF-8FA4-23DCFA07A9AC}">
      <dgm:prSet/>
      <dgm:spPr/>
      <dgm:t>
        <a:bodyPr/>
        <a:lstStyle/>
        <a:p>
          <a:endParaRPr lang="en-IN"/>
        </a:p>
      </dgm:t>
    </dgm:pt>
    <dgm:pt modelId="{51C9F9F0-7F54-4B75-B0DC-529E65401FF5}" type="sibTrans" cxnId="{1A072C41-DA54-48BF-8FA4-23DCFA07A9AC}">
      <dgm:prSet/>
      <dgm:spPr/>
      <dgm:t>
        <a:bodyPr/>
        <a:lstStyle/>
        <a:p>
          <a:endParaRPr lang="en-IN"/>
        </a:p>
      </dgm:t>
    </dgm:pt>
    <dgm:pt modelId="{4DB0AF6C-E7E7-45E6-8726-8CE1DD1A3E1D}">
      <dgm:prSet phldrT="[Text]"/>
      <dgm:spPr/>
      <dgm:t>
        <a:bodyPr/>
        <a:lstStyle/>
        <a:p>
          <a:r>
            <a:rPr lang="en-IN" dirty="0"/>
            <a:t>Spacy</a:t>
          </a:r>
        </a:p>
      </dgm:t>
    </dgm:pt>
    <dgm:pt modelId="{CA76C6FE-FAC3-49D3-99A5-F4C01F5F09A1}" type="parTrans" cxnId="{76E5342E-5C7E-49FB-9D62-A1E9919B6237}">
      <dgm:prSet/>
      <dgm:spPr/>
      <dgm:t>
        <a:bodyPr/>
        <a:lstStyle/>
        <a:p>
          <a:endParaRPr lang="en-IN"/>
        </a:p>
      </dgm:t>
    </dgm:pt>
    <dgm:pt modelId="{400CCA8A-CE93-4A7C-B9E4-2B2DCF44768B}" type="sibTrans" cxnId="{76E5342E-5C7E-49FB-9D62-A1E9919B6237}">
      <dgm:prSet/>
      <dgm:spPr/>
      <dgm:t>
        <a:bodyPr/>
        <a:lstStyle/>
        <a:p>
          <a:endParaRPr lang="en-IN"/>
        </a:p>
      </dgm:t>
    </dgm:pt>
    <dgm:pt modelId="{C4308A16-E3C6-45F0-9829-13E018678C2E}">
      <dgm:prSet phldrT="[Text]"/>
      <dgm:spPr/>
      <dgm:t>
        <a:bodyPr/>
        <a:lstStyle/>
        <a:p>
          <a:r>
            <a:rPr lang="en-IN" dirty="0"/>
            <a:t>Core NLP</a:t>
          </a:r>
        </a:p>
      </dgm:t>
    </dgm:pt>
    <dgm:pt modelId="{0C4A3E32-728D-49F8-BCED-39605C1C11B0}" type="parTrans" cxnId="{B9768FAB-33F3-4F3F-9217-FB35F233EE11}">
      <dgm:prSet/>
      <dgm:spPr/>
      <dgm:t>
        <a:bodyPr/>
        <a:lstStyle/>
        <a:p>
          <a:endParaRPr lang="en-IN"/>
        </a:p>
      </dgm:t>
    </dgm:pt>
    <dgm:pt modelId="{5E06F204-F29C-4C44-84CB-E15622C7BF8F}" type="sibTrans" cxnId="{B9768FAB-33F3-4F3F-9217-FB35F233EE11}">
      <dgm:prSet/>
      <dgm:spPr/>
      <dgm:t>
        <a:bodyPr/>
        <a:lstStyle/>
        <a:p>
          <a:endParaRPr lang="en-IN"/>
        </a:p>
      </dgm:t>
    </dgm:pt>
    <dgm:pt modelId="{01DDAFBE-1CBB-46E2-AE47-6E72634A2CF7}">
      <dgm:prSet phldrT="[Text]"/>
      <dgm:spPr/>
      <dgm:t>
        <a:bodyPr/>
        <a:lstStyle/>
        <a:p>
          <a:r>
            <a:rPr lang="en-IN" dirty="0" err="1"/>
            <a:t>AllenNLP</a:t>
          </a:r>
          <a:endParaRPr lang="en-IN" dirty="0"/>
        </a:p>
      </dgm:t>
    </dgm:pt>
    <dgm:pt modelId="{DB705072-1D72-425D-8D88-6CE1EB4155EF}" type="parTrans" cxnId="{69392BCC-CC00-4019-A334-A101763F50A4}">
      <dgm:prSet/>
      <dgm:spPr/>
      <dgm:t>
        <a:bodyPr/>
        <a:lstStyle/>
        <a:p>
          <a:endParaRPr lang="en-IN"/>
        </a:p>
      </dgm:t>
    </dgm:pt>
    <dgm:pt modelId="{84423719-CEAE-4B88-9B8D-A3EC9D1FBD88}" type="sibTrans" cxnId="{69392BCC-CC00-4019-A334-A101763F50A4}">
      <dgm:prSet/>
      <dgm:spPr/>
      <dgm:t>
        <a:bodyPr/>
        <a:lstStyle/>
        <a:p>
          <a:endParaRPr lang="en-IN"/>
        </a:p>
      </dgm:t>
    </dgm:pt>
    <dgm:pt modelId="{139E1D90-9AD3-4267-BBC1-82D8B90EEFA0}">
      <dgm:prSet phldrT="[Text]"/>
      <dgm:spPr/>
      <dgm:t>
        <a:bodyPr/>
        <a:lstStyle/>
        <a:p>
          <a:r>
            <a:rPr lang="en-IN" dirty="0" err="1"/>
            <a:t>TextBlob</a:t>
          </a:r>
          <a:endParaRPr lang="en-IN" dirty="0"/>
        </a:p>
      </dgm:t>
    </dgm:pt>
    <dgm:pt modelId="{71725AD9-E2AF-409F-B885-9B6EA9B52B1F}" type="parTrans" cxnId="{3669E7EF-01A5-4A3C-8FCF-19317ADA38DE}">
      <dgm:prSet/>
      <dgm:spPr/>
      <dgm:t>
        <a:bodyPr/>
        <a:lstStyle/>
        <a:p>
          <a:endParaRPr lang="en-IN"/>
        </a:p>
      </dgm:t>
    </dgm:pt>
    <dgm:pt modelId="{A57C8428-5176-43EF-BF12-DC09C631EC2E}" type="sibTrans" cxnId="{3669E7EF-01A5-4A3C-8FCF-19317ADA38DE}">
      <dgm:prSet/>
      <dgm:spPr/>
      <dgm:t>
        <a:bodyPr/>
        <a:lstStyle/>
        <a:p>
          <a:endParaRPr lang="en-IN"/>
        </a:p>
      </dgm:t>
    </dgm:pt>
    <dgm:pt modelId="{12C9D239-C6D0-4FF4-ABE4-F59F2807BA54}">
      <dgm:prSet phldrT="[Text]"/>
      <dgm:spPr/>
      <dgm:t>
        <a:bodyPr/>
        <a:lstStyle/>
        <a:p>
          <a:r>
            <a:rPr lang="en-IN" b="1" i="0" dirty="0" err="1"/>
            <a:t>OpenNLP</a:t>
          </a:r>
          <a:endParaRPr lang="en-IN" dirty="0"/>
        </a:p>
      </dgm:t>
    </dgm:pt>
    <dgm:pt modelId="{B3202867-102F-46AF-96E3-A5C008159047}" type="parTrans" cxnId="{6756161F-A43D-47E9-81BD-66A57CCCF3BE}">
      <dgm:prSet/>
      <dgm:spPr/>
      <dgm:t>
        <a:bodyPr/>
        <a:lstStyle/>
        <a:p>
          <a:endParaRPr lang="en-IN"/>
        </a:p>
      </dgm:t>
    </dgm:pt>
    <dgm:pt modelId="{48E9259B-F8FF-49DC-8DC6-998C094A20CC}" type="sibTrans" cxnId="{6756161F-A43D-47E9-81BD-66A57CCCF3BE}">
      <dgm:prSet/>
      <dgm:spPr/>
      <dgm:t>
        <a:bodyPr/>
        <a:lstStyle/>
        <a:p>
          <a:endParaRPr lang="en-IN"/>
        </a:p>
      </dgm:t>
    </dgm:pt>
    <dgm:pt modelId="{74972056-F63E-4774-9BAE-150AC7A5F09D}">
      <dgm:prSet phldrT="[Text]"/>
      <dgm:spPr/>
      <dgm:t>
        <a:bodyPr/>
        <a:lstStyle/>
        <a:p>
          <a:r>
            <a:rPr lang="en-IN" dirty="0"/>
            <a:t>Flair</a:t>
          </a:r>
        </a:p>
      </dgm:t>
    </dgm:pt>
    <dgm:pt modelId="{1FD2C883-43DB-4B22-BF65-7C7F6A542FED}" type="parTrans" cxnId="{2912B494-792C-47BF-9293-73A3EC73C8CF}">
      <dgm:prSet/>
      <dgm:spPr/>
      <dgm:t>
        <a:bodyPr/>
        <a:lstStyle/>
        <a:p>
          <a:endParaRPr lang="en-IN"/>
        </a:p>
      </dgm:t>
    </dgm:pt>
    <dgm:pt modelId="{3B2AE1DE-3760-4D91-80A8-073A9B1D50E3}" type="sibTrans" cxnId="{2912B494-792C-47BF-9293-73A3EC73C8CF}">
      <dgm:prSet/>
      <dgm:spPr/>
      <dgm:t>
        <a:bodyPr/>
        <a:lstStyle/>
        <a:p>
          <a:endParaRPr lang="en-IN"/>
        </a:p>
      </dgm:t>
    </dgm:pt>
    <dgm:pt modelId="{5AC7C51D-A06C-4219-BCDA-80F1BC5843F3}">
      <dgm:prSet/>
      <dgm:spPr/>
      <dgm:t>
        <a:bodyPr/>
        <a:lstStyle/>
        <a:p>
          <a:r>
            <a:rPr lang="en-IN"/>
            <a:t>Gensim</a:t>
          </a:r>
          <a:endParaRPr lang="en-IN" dirty="0"/>
        </a:p>
      </dgm:t>
    </dgm:pt>
    <dgm:pt modelId="{005318C5-DA12-4A6F-9F1D-EE49DC13ACAD}" type="parTrans" cxnId="{B25FEABA-D39A-4A0D-813D-A0039AC7A109}">
      <dgm:prSet/>
      <dgm:spPr/>
      <dgm:t>
        <a:bodyPr/>
        <a:lstStyle/>
        <a:p>
          <a:endParaRPr lang="en-IN"/>
        </a:p>
      </dgm:t>
    </dgm:pt>
    <dgm:pt modelId="{D762E9EC-FAE5-4DBE-B9BD-56BA1388090A}" type="sibTrans" cxnId="{B25FEABA-D39A-4A0D-813D-A0039AC7A109}">
      <dgm:prSet/>
      <dgm:spPr/>
      <dgm:t>
        <a:bodyPr/>
        <a:lstStyle/>
        <a:p>
          <a:endParaRPr lang="en-IN"/>
        </a:p>
      </dgm:t>
    </dgm:pt>
    <dgm:pt modelId="{32719E8C-55C7-4C94-A1B0-F0EC91101DC6}">
      <dgm:prSet phldrT="[Text]"/>
      <dgm:spPr/>
      <dgm:t>
        <a:bodyPr/>
        <a:lstStyle/>
        <a:p>
          <a:r>
            <a:rPr lang="en-IN" b="1" i="0" dirty="0"/>
            <a:t>Spark NLP</a:t>
          </a:r>
          <a:endParaRPr lang="en-IN" dirty="0"/>
        </a:p>
      </dgm:t>
    </dgm:pt>
    <dgm:pt modelId="{03BDB069-27B1-494D-BE06-A67A6F20FA84}" type="parTrans" cxnId="{4DDF0378-69F9-4C0C-B846-2C132E88370D}">
      <dgm:prSet/>
      <dgm:spPr/>
      <dgm:t>
        <a:bodyPr/>
        <a:lstStyle/>
        <a:p>
          <a:endParaRPr lang="en-IN"/>
        </a:p>
      </dgm:t>
    </dgm:pt>
    <dgm:pt modelId="{2DE513D2-8032-4DD8-B08E-F6E851712B06}" type="sibTrans" cxnId="{4DDF0378-69F9-4C0C-B846-2C132E88370D}">
      <dgm:prSet/>
      <dgm:spPr/>
      <dgm:t>
        <a:bodyPr/>
        <a:lstStyle/>
        <a:p>
          <a:endParaRPr lang="en-IN"/>
        </a:p>
      </dgm:t>
    </dgm:pt>
    <dgm:pt modelId="{6966FF47-4CCE-4F48-8914-7BC8CD4635F3}">
      <dgm:prSet phldrT="[Text]"/>
      <dgm:spPr/>
      <dgm:t>
        <a:bodyPr/>
        <a:lstStyle/>
        <a:p>
          <a:r>
            <a:rPr lang="en-IN" dirty="0" err="1"/>
            <a:t>HuggingFace</a:t>
          </a:r>
          <a:endParaRPr lang="en-IN" dirty="0"/>
        </a:p>
      </dgm:t>
    </dgm:pt>
    <dgm:pt modelId="{DE5FFF38-0CDD-4353-8F55-A47C73B7FF78}" type="parTrans" cxnId="{66F1F218-6CAB-4AFB-87DF-7337A8076DEA}">
      <dgm:prSet/>
      <dgm:spPr/>
      <dgm:t>
        <a:bodyPr/>
        <a:lstStyle/>
        <a:p>
          <a:endParaRPr lang="en-IN"/>
        </a:p>
      </dgm:t>
    </dgm:pt>
    <dgm:pt modelId="{9E0EC677-392F-467E-A657-B56B91848B6C}" type="sibTrans" cxnId="{66F1F218-6CAB-4AFB-87DF-7337A8076DEA}">
      <dgm:prSet/>
      <dgm:spPr/>
      <dgm:t>
        <a:bodyPr/>
        <a:lstStyle/>
        <a:p>
          <a:endParaRPr lang="en-IN"/>
        </a:p>
      </dgm:t>
    </dgm:pt>
    <dgm:pt modelId="{39E67F15-AD88-4800-8698-23551DA66A8A}">
      <dgm:prSet phldrT="[Text]"/>
      <dgm:spPr/>
      <dgm:t>
        <a:bodyPr/>
        <a:lstStyle/>
        <a:p>
          <a:r>
            <a:rPr lang="en-US" dirty="0" err="1"/>
            <a:t>Langchain</a:t>
          </a:r>
          <a:endParaRPr lang="en-IN" dirty="0"/>
        </a:p>
      </dgm:t>
    </dgm:pt>
    <dgm:pt modelId="{98665E3E-4F55-43CA-A939-14F46395A9AC}" type="parTrans" cxnId="{280462A8-A8E6-4A8F-B9D2-9E82872C16CD}">
      <dgm:prSet/>
      <dgm:spPr/>
      <dgm:t>
        <a:bodyPr/>
        <a:lstStyle/>
        <a:p>
          <a:endParaRPr lang="en-IN"/>
        </a:p>
      </dgm:t>
    </dgm:pt>
    <dgm:pt modelId="{8DFC16A5-684C-4484-9718-1387DF12B25D}" type="sibTrans" cxnId="{280462A8-A8E6-4A8F-B9D2-9E82872C16CD}">
      <dgm:prSet/>
      <dgm:spPr/>
      <dgm:t>
        <a:bodyPr/>
        <a:lstStyle/>
        <a:p>
          <a:endParaRPr lang="en-IN"/>
        </a:p>
      </dgm:t>
    </dgm:pt>
    <dgm:pt modelId="{C99B4FEA-C8F8-4CD6-BFC3-850129AF9AAD}">
      <dgm:prSet phldrT="[Text]"/>
      <dgm:spPr/>
      <dgm:t>
        <a:bodyPr/>
        <a:lstStyle/>
        <a:p>
          <a:r>
            <a:rPr lang="en-US" dirty="0" err="1"/>
            <a:t>llamaindex</a:t>
          </a:r>
          <a:endParaRPr lang="en-IN" dirty="0"/>
        </a:p>
      </dgm:t>
    </dgm:pt>
    <dgm:pt modelId="{A1509FEE-97F7-43C8-893A-7DED296A5841}" type="parTrans" cxnId="{18EA5662-B71A-4B61-9D98-0E248B8CCDB0}">
      <dgm:prSet/>
      <dgm:spPr/>
      <dgm:t>
        <a:bodyPr/>
        <a:lstStyle/>
        <a:p>
          <a:endParaRPr lang="en-IN"/>
        </a:p>
      </dgm:t>
    </dgm:pt>
    <dgm:pt modelId="{9BF7020A-AAC9-4127-8CC2-37DF631F1AA2}" type="sibTrans" cxnId="{18EA5662-B71A-4B61-9D98-0E248B8CCDB0}">
      <dgm:prSet/>
      <dgm:spPr/>
      <dgm:t>
        <a:bodyPr/>
        <a:lstStyle/>
        <a:p>
          <a:endParaRPr lang="en-IN"/>
        </a:p>
      </dgm:t>
    </dgm:pt>
    <dgm:pt modelId="{E1D4DDD5-0AC9-49B0-9ED5-6D445DA49B47}" type="pres">
      <dgm:prSet presAssocID="{9D315BF3-C61E-4A6C-BFE0-A020BC774973}" presName="diagram" presStyleCnt="0">
        <dgm:presLayoutVars>
          <dgm:dir/>
          <dgm:resizeHandles val="exact"/>
        </dgm:presLayoutVars>
      </dgm:prSet>
      <dgm:spPr/>
    </dgm:pt>
    <dgm:pt modelId="{792DAB12-E312-4FC8-A30E-08F1FDC90194}" type="pres">
      <dgm:prSet presAssocID="{FA767A91-4337-46A4-87E8-3B529C53E0F1}" presName="node" presStyleLbl="node1" presStyleIdx="0" presStyleCnt="12">
        <dgm:presLayoutVars>
          <dgm:bulletEnabled val="1"/>
        </dgm:presLayoutVars>
      </dgm:prSet>
      <dgm:spPr/>
    </dgm:pt>
    <dgm:pt modelId="{72E057AC-BC31-4CE2-A8C4-4D2AB55CDA2C}" type="pres">
      <dgm:prSet presAssocID="{51C9F9F0-7F54-4B75-B0DC-529E65401FF5}" presName="sibTrans" presStyleCnt="0"/>
      <dgm:spPr/>
    </dgm:pt>
    <dgm:pt modelId="{E4035C84-917A-4CA3-8F09-245C7F3D2F83}" type="pres">
      <dgm:prSet presAssocID="{4DB0AF6C-E7E7-45E6-8726-8CE1DD1A3E1D}" presName="node" presStyleLbl="node1" presStyleIdx="1" presStyleCnt="12">
        <dgm:presLayoutVars>
          <dgm:bulletEnabled val="1"/>
        </dgm:presLayoutVars>
      </dgm:prSet>
      <dgm:spPr/>
    </dgm:pt>
    <dgm:pt modelId="{3F363986-81DB-44A0-B752-163FDBAB31B9}" type="pres">
      <dgm:prSet presAssocID="{400CCA8A-CE93-4A7C-B9E4-2B2DCF44768B}" presName="sibTrans" presStyleCnt="0"/>
      <dgm:spPr/>
    </dgm:pt>
    <dgm:pt modelId="{EF190867-2E2D-45D0-8936-7219D49B33B1}" type="pres">
      <dgm:prSet presAssocID="{5AC7C51D-A06C-4219-BCDA-80F1BC5843F3}" presName="node" presStyleLbl="node1" presStyleIdx="2" presStyleCnt="12">
        <dgm:presLayoutVars>
          <dgm:bulletEnabled val="1"/>
        </dgm:presLayoutVars>
      </dgm:prSet>
      <dgm:spPr/>
    </dgm:pt>
    <dgm:pt modelId="{E3061835-3864-4FEC-9232-BAB4C7F4D3DC}" type="pres">
      <dgm:prSet presAssocID="{D762E9EC-FAE5-4DBE-B9BD-56BA1388090A}" presName="sibTrans" presStyleCnt="0"/>
      <dgm:spPr/>
    </dgm:pt>
    <dgm:pt modelId="{4D41492D-3C3A-4623-BD40-3BBFEADE7671}" type="pres">
      <dgm:prSet presAssocID="{C4308A16-E3C6-45F0-9829-13E018678C2E}" presName="node" presStyleLbl="node1" presStyleIdx="3" presStyleCnt="12" custLinFactX="-100000" custLinFactY="17344" custLinFactNeighborX="-120997" custLinFactNeighborY="100000">
        <dgm:presLayoutVars>
          <dgm:bulletEnabled val="1"/>
        </dgm:presLayoutVars>
      </dgm:prSet>
      <dgm:spPr/>
    </dgm:pt>
    <dgm:pt modelId="{03EF8970-C77B-4B80-8DCA-85D4364134C4}" type="pres">
      <dgm:prSet presAssocID="{5E06F204-F29C-4C44-84CB-E15622C7BF8F}" presName="sibTrans" presStyleCnt="0"/>
      <dgm:spPr/>
    </dgm:pt>
    <dgm:pt modelId="{528600E6-DAC4-4473-83DF-A89874E18728}" type="pres">
      <dgm:prSet presAssocID="{01DDAFBE-1CBB-46E2-AE47-6E72634A2CF7}" presName="node" presStyleLbl="node1" presStyleIdx="4" presStyleCnt="12">
        <dgm:presLayoutVars>
          <dgm:bulletEnabled val="1"/>
        </dgm:presLayoutVars>
      </dgm:prSet>
      <dgm:spPr/>
    </dgm:pt>
    <dgm:pt modelId="{C4531C21-5E72-4466-B9BD-23B8C6D2A0CF}" type="pres">
      <dgm:prSet presAssocID="{84423719-CEAE-4B88-9B8D-A3EC9D1FBD88}" presName="sibTrans" presStyleCnt="0"/>
      <dgm:spPr/>
    </dgm:pt>
    <dgm:pt modelId="{FBFA4FCA-8C49-48E6-AB30-E6E6F3899044}" type="pres">
      <dgm:prSet presAssocID="{139E1D90-9AD3-4267-BBC1-82D8B90EEFA0}" presName="node" presStyleLbl="node1" presStyleIdx="5" presStyleCnt="12" custLinFactX="100000" custLinFactY="-17343" custLinFactNeighborX="120997" custLinFactNeighborY="-100000">
        <dgm:presLayoutVars>
          <dgm:bulletEnabled val="1"/>
        </dgm:presLayoutVars>
      </dgm:prSet>
      <dgm:spPr/>
    </dgm:pt>
    <dgm:pt modelId="{D088F1E5-CACA-4803-A458-7265234E2656}" type="pres">
      <dgm:prSet presAssocID="{A57C8428-5176-43EF-BF12-DC09C631EC2E}" presName="sibTrans" presStyleCnt="0"/>
      <dgm:spPr/>
    </dgm:pt>
    <dgm:pt modelId="{9DEBFDAF-1C71-432A-B40E-48A2E6FFC3B2}" type="pres">
      <dgm:prSet presAssocID="{12C9D239-C6D0-4FF4-ABE4-F59F2807BA54}" presName="node" presStyleLbl="node1" presStyleIdx="6" presStyleCnt="12">
        <dgm:presLayoutVars>
          <dgm:bulletEnabled val="1"/>
        </dgm:presLayoutVars>
      </dgm:prSet>
      <dgm:spPr/>
    </dgm:pt>
    <dgm:pt modelId="{63EB708B-1FFD-4239-9703-7165993C3774}" type="pres">
      <dgm:prSet presAssocID="{48E9259B-F8FF-49DC-8DC6-998C094A20CC}" presName="sibTrans" presStyleCnt="0"/>
      <dgm:spPr/>
    </dgm:pt>
    <dgm:pt modelId="{A9A60F75-365B-483E-981A-AF94B8E78582}" type="pres">
      <dgm:prSet presAssocID="{32719E8C-55C7-4C94-A1B0-F0EC91101DC6}" presName="node" presStyleLbl="node1" presStyleIdx="7" presStyleCnt="12">
        <dgm:presLayoutVars>
          <dgm:bulletEnabled val="1"/>
        </dgm:presLayoutVars>
      </dgm:prSet>
      <dgm:spPr/>
    </dgm:pt>
    <dgm:pt modelId="{F60F0E34-51E3-4EB2-98BC-376F0D697868}" type="pres">
      <dgm:prSet presAssocID="{2DE513D2-8032-4DD8-B08E-F6E851712B06}" presName="sibTrans" presStyleCnt="0"/>
      <dgm:spPr/>
    </dgm:pt>
    <dgm:pt modelId="{C1EC1FD7-9E01-431A-B237-847CBBF61B6E}" type="pres">
      <dgm:prSet presAssocID="{74972056-F63E-4774-9BAE-150AC7A5F09D}" presName="node" presStyleLbl="node1" presStyleIdx="8" presStyleCnt="12">
        <dgm:presLayoutVars>
          <dgm:bulletEnabled val="1"/>
        </dgm:presLayoutVars>
      </dgm:prSet>
      <dgm:spPr/>
    </dgm:pt>
    <dgm:pt modelId="{ADFE1C76-96F0-43C0-B73B-23B2A93B9178}" type="pres">
      <dgm:prSet presAssocID="{3B2AE1DE-3760-4D91-80A8-073A9B1D50E3}" presName="sibTrans" presStyleCnt="0"/>
      <dgm:spPr/>
    </dgm:pt>
    <dgm:pt modelId="{80C7CD7B-9D9C-430D-B8A8-08AA08FBFC19}" type="pres">
      <dgm:prSet presAssocID="{6966FF47-4CCE-4F48-8914-7BC8CD4635F3}" presName="node" presStyleLbl="node1" presStyleIdx="9" presStyleCnt="12">
        <dgm:presLayoutVars>
          <dgm:bulletEnabled val="1"/>
        </dgm:presLayoutVars>
      </dgm:prSet>
      <dgm:spPr/>
    </dgm:pt>
    <dgm:pt modelId="{119B5E8D-1E8B-4CAF-88D7-31CAADA6BA51}" type="pres">
      <dgm:prSet presAssocID="{9E0EC677-392F-467E-A657-B56B91848B6C}" presName="sibTrans" presStyleCnt="0"/>
      <dgm:spPr/>
    </dgm:pt>
    <dgm:pt modelId="{B8F754A5-0562-4300-A5AD-5C9D91DA69FE}" type="pres">
      <dgm:prSet presAssocID="{39E67F15-AD88-4800-8698-23551DA66A8A}" presName="node" presStyleLbl="node1" presStyleIdx="10" presStyleCnt="12" custLinFactNeighborX="3659" custLinFactNeighborY="-9147">
        <dgm:presLayoutVars>
          <dgm:bulletEnabled val="1"/>
        </dgm:presLayoutVars>
      </dgm:prSet>
      <dgm:spPr/>
    </dgm:pt>
    <dgm:pt modelId="{2ED3C245-8B2A-439B-8D04-1E5D7D74D236}" type="pres">
      <dgm:prSet presAssocID="{8DFC16A5-684C-4484-9718-1387DF12B25D}" presName="sibTrans" presStyleCnt="0"/>
      <dgm:spPr/>
    </dgm:pt>
    <dgm:pt modelId="{BCF506C7-C145-41AA-8B9F-B2B276FE3E5E}" type="pres">
      <dgm:prSet presAssocID="{C99B4FEA-C8F8-4CD6-BFC3-850129AF9AAD}" presName="node" presStyleLbl="node1" presStyleIdx="11" presStyleCnt="12" custLinFactNeighborX="3659" custLinFactNeighborY="-9147">
        <dgm:presLayoutVars>
          <dgm:bulletEnabled val="1"/>
        </dgm:presLayoutVars>
      </dgm:prSet>
      <dgm:spPr/>
    </dgm:pt>
  </dgm:ptLst>
  <dgm:cxnLst>
    <dgm:cxn modelId="{66F1F218-6CAB-4AFB-87DF-7337A8076DEA}" srcId="{9D315BF3-C61E-4A6C-BFE0-A020BC774973}" destId="{6966FF47-4CCE-4F48-8914-7BC8CD4635F3}" srcOrd="9" destOrd="0" parTransId="{DE5FFF38-0CDD-4353-8F55-A47C73B7FF78}" sibTransId="{9E0EC677-392F-467E-A657-B56B91848B6C}"/>
    <dgm:cxn modelId="{6756161F-A43D-47E9-81BD-66A57CCCF3BE}" srcId="{9D315BF3-C61E-4A6C-BFE0-A020BC774973}" destId="{12C9D239-C6D0-4FF4-ABE4-F59F2807BA54}" srcOrd="6" destOrd="0" parTransId="{B3202867-102F-46AF-96E3-A5C008159047}" sibTransId="{48E9259B-F8FF-49DC-8DC6-998C094A20CC}"/>
    <dgm:cxn modelId="{76E5342E-5C7E-49FB-9D62-A1E9919B6237}" srcId="{9D315BF3-C61E-4A6C-BFE0-A020BC774973}" destId="{4DB0AF6C-E7E7-45E6-8726-8CE1DD1A3E1D}" srcOrd="1" destOrd="0" parTransId="{CA76C6FE-FAC3-49D3-99A5-F4C01F5F09A1}" sibTransId="{400CCA8A-CE93-4A7C-B9E4-2B2DCF44768B}"/>
    <dgm:cxn modelId="{86E9B530-238C-4F18-8867-A2DDEE7FD7D2}" type="presOf" srcId="{32719E8C-55C7-4C94-A1B0-F0EC91101DC6}" destId="{A9A60F75-365B-483E-981A-AF94B8E78582}" srcOrd="0" destOrd="0" presId="urn:microsoft.com/office/officeart/2005/8/layout/default"/>
    <dgm:cxn modelId="{1A072C41-DA54-48BF-8FA4-23DCFA07A9AC}" srcId="{9D315BF3-C61E-4A6C-BFE0-A020BC774973}" destId="{FA767A91-4337-46A4-87E8-3B529C53E0F1}" srcOrd="0" destOrd="0" parTransId="{3887826E-BCE0-4A2B-B3FC-72868CAC6DCE}" sibTransId="{51C9F9F0-7F54-4B75-B0DC-529E65401FF5}"/>
    <dgm:cxn modelId="{F1EB4841-D56F-4279-B943-780F48F61892}" type="presOf" srcId="{FA767A91-4337-46A4-87E8-3B529C53E0F1}" destId="{792DAB12-E312-4FC8-A30E-08F1FDC90194}" srcOrd="0" destOrd="0" presId="urn:microsoft.com/office/officeart/2005/8/layout/default"/>
    <dgm:cxn modelId="{ADEB7342-6F18-44AF-95F7-5FCF6C5B48C3}" type="presOf" srcId="{139E1D90-9AD3-4267-BBC1-82D8B90EEFA0}" destId="{FBFA4FCA-8C49-48E6-AB30-E6E6F3899044}" srcOrd="0" destOrd="0" presId="urn:microsoft.com/office/officeart/2005/8/layout/default"/>
    <dgm:cxn modelId="{18EA5662-B71A-4B61-9D98-0E248B8CCDB0}" srcId="{9D315BF3-C61E-4A6C-BFE0-A020BC774973}" destId="{C99B4FEA-C8F8-4CD6-BFC3-850129AF9AAD}" srcOrd="11" destOrd="0" parTransId="{A1509FEE-97F7-43C8-893A-7DED296A5841}" sibTransId="{9BF7020A-AAC9-4127-8CC2-37DF631F1AA2}"/>
    <dgm:cxn modelId="{3EDDD96A-4421-4D6A-887C-9EAA40C71470}" type="presOf" srcId="{9D315BF3-C61E-4A6C-BFE0-A020BC774973}" destId="{E1D4DDD5-0AC9-49B0-9ED5-6D445DA49B47}" srcOrd="0" destOrd="0" presId="urn:microsoft.com/office/officeart/2005/8/layout/default"/>
    <dgm:cxn modelId="{C57A4A53-DF61-45B7-89D3-3B2EC12788A8}" type="presOf" srcId="{12C9D239-C6D0-4FF4-ABE4-F59F2807BA54}" destId="{9DEBFDAF-1C71-432A-B40E-48A2E6FFC3B2}" srcOrd="0" destOrd="0" presId="urn:microsoft.com/office/officeart/2005/8/layout/default"/>
    <dgm:cxn modelId="{BA571C77-AAE2-4F7D-B028-6C83ECE948BE}" type="presOf" srcId="{C99B4FEA-C8F8-4CD6-BFC3-850129AF9AAD}" destId="{BCF506C7-C145-41AA-8B9F-B2B276FE3E5E}" srcOrd="0" destOrd="0" presId="urn:microsoft.com/office/officeart/2005/8/layout/default"/>
    <dgm:cxn modelId="{4DDF0378-69F9-4C0C-B846-2C132E88370D}" srcId="{9D315BF3-C61E-4A6C-BFE0-A020BC774973}" destId="{32719E8C-55C7-4C94-A1B0-F0EC91101DC6}" srcOrd="7" destOrd="0" parTransId="{03BDB069-27B1-494D-BE06-A67A6F20FA84}" sibTransId="{2DE513D2-8032-4DD8-B08E-F6E851712B06}"/>
    <dgm:cxn modelId="{2912B494-792C-47BF-9293-73A3EC73C8CF}" srcId="{9D315BF3-C61E-4A6C-BFE0-A020BC774973}" destId="{74972056-F63E-4774-9BAE-150AC7A5F09D}" srcOrd="8" destOrd="0" parTransId="{1FD2C883-43DB-4B22-BF65-7C7F6A542FED}" sibTransId="{3B2AE1DE-3760-4D91-80A8-073A9B1D50E3}"/>
    <dgm:cxn modelId="{3809E799-F855-4568-BD95-289CE52CB440}" type="presOf" srcId="{39E67F15-AD88-4800-8698-23551DA66A8A}" destId="{B8F754A5-0562-4300-A5AD-5C9D91DA69FE}" srcOrd="0" destOrd="0" presId="urn:microsoft.com/office/officeart/2005/8/layout/default"/>
    <dgm:cxn modelId="{280462A8-A8E6-4A8F-B9D2-9E82872C16CD}" srcId="{9D315BF3-C61E-4A6C-BFE0-A020BC774973}" destId="{39E67F15-AD88-4800-8698-23551DA66A8A}" srcOrd="10" destOrd="0" parTransId="{98665E3E-4F55-43CA-A939-14F46395A9AC}" sibTransId="{8DFC16A5-684C-4484-9718-1387DF12B25D}"/>
    <dgm:cxn modelId="{CB14BDA9-0E88-4BBC-815F-79458A603BBF}" type="presOf" srcId="{C4308A16-E3C6-45F0-9829-13E018678C2E}" destId="{4D41492D-3C3A-4623-BD40-3BBFEADE7671}" srcOrd="0" destOrd="0" presId="urn:microsoft.com/office/officeart/2005/8/layout/default"/>
    <dgm:cxn modelId="{B9768FAB-33F3-4F3F-9217-FB35F233EE11}" srcId="{9D315BF3-C61E-4A6C-BFE0-A020BC774973}" destId="{C4308A16-E3C6-45F0-9829-13E018678C2E}" srcOrd="3" destOrd="0" parTransId="{0C4A3E32-728D-49F8-BCED-39605C1C11B0}" sibTransId="{5E06F204-F29C-4C44-84CB-E15622C7BF8F}"/>
    <dgm:cxn modelId="{C2FBF0B4-4E22-4EF5-8E8A-D2C236700F64}" type="presOf" srcId="{74972056-F63E-4774-9BAE-150AC7A5F09D}" destId="{C1EC1FD7-9E01-431A-B237-847CBBF61B6E}" srcOrd="0" destOrd="0" presId="urn:microsoft.com/office/officeart/2005/8/layout/default"/>
    <dgm:cxn modelId="{B25FEABA-D39A-4A0D-813D-A0039AC7A109}" srcId="{9D315BF3-C61E-4A6C-BFE0-A020BC774973}" destId="{5AC7C51D-A06C-4219-BCDA-80F1BC5843F3}" srcOrd="2" destOrd="0" parTransId="{005318C5-DA12-4A6F-9F1D-EE49DC13ACAD}" sibTransId="{D762E9EC-FAE5-4DBE-B9BD-56BA1388090A}"/>
    <dgm:cxn modelId="{31D10BC9-A34C-496D-A138-BBE44805CA77}" type="presOf" srcId="{4DB0AF6C-E7E7-45E6-8726-8CE1DD1A3E1D}" destId="{E4035C84-917A-4CA3-8F09-245C7F3D2F83}" srcOrd="0" destOrd="0" presId="urn:microsoft.com/office/officeart/2005/8/layout/default"/>
    <dgm:cxn modelId="{69392BCC-CC00-4019-A334-A101763F50A4}" srcId="{9D315BF3-C61E-4A6C-BFE0-A020BC774973}" destId="{01DDAFBE-1CBB-46E2-AE47-6E72634A2CF7}" srcOrd="4" destOrd="0" parTransId="{DB705072-1D72-425D-8D88-6CE1EB4155EF}" sibTransId="{84423719-CEAE-4B88-9B8D-A3EC9D1FBD88}"/>
    <dgm:cxn modelId="{1CBD96CC-8F68-4A93-BBB5-FE789762967E}" type="presOf" srcId="{5AC7C51D-A06C-4219-BCDA-80F1BC5843F3}" destId="{EF190867-2E2D-45D0-8936-7219D49B33B1}" srcOrd="0" destOrd="0" presId="urn:microsoft.com/office/officeart/2005/8/layout/default"/>
    <dgm:cxn modelId="{88AC7FE5-C615-4EEB-B774-C66BC28C6457}" type="presOf" srcId="{6966FF47-4CCE-4F48-8914-7BC8CD4635F3}" destId="{80C7CD7B-9D9C-430D-B8A8-08AA08FBFC19}" srcOrd="0" destOrd="0" presId="urn:microsoft.com/office/officeart/2005/8/layout/default"/>
    <dgm:cxn modelId="{655E25EE-6508-4C5A-9A5E-0047233B9EB1}" type="presOf" srcId="{01DDAFBE-1CBB-46E2-AE47-6E72634A2CF7}" destId="{528600E6-DAC4-4473-83DF-A89874E18728}" srcOrd="0" destOrd="0" presId="urn:microsoft.com/office/officeart/2005/8/layout/default"/>
    <dgm:cxn modelId="{3669E7EF-01A5-4A3C-8FCF-19317ADA38DE}" srcId="{9D315BF3-C61E-4A6C-BFE0-A020BC774973}" destId="{139E1D90-9AD3-4267-BBC1-82D8B90EEFA0}" srcOrd="5" destOrd="0" parTransId="{71725AD9-E2AF-409F-B885-9B6EA9B52B1F}" sibTransId="{A57C8428-5176-43EF-BF12-DC09C631EC2E}"/>
    <dgm:cxn modelId="{FB757A9C-46C6-489E-9D61-6219A69A3116}" type="presParOf" srcId="{E1D4DDD5-0AC9-49B0-9ED5-6D445DA49B47}" destId="{792DAB12-E312-4FC8-A30E-08F1FDC90194}" srcOrd="0" destOrd="0" presId="urn:microsoft.com/office/officeart/2005/8/layout/default"/>
    <dgm:cxn modelId="{241C9E5F-D583-4104-B6F8-96A86ABFFC58}" type="presParOf" srcId="{E1D4DDD5-0AC9-49B0-9ED5-6D445DA49B47}" destId="{72E057AC-BC31-4CE2-A8C4-4D2AB55CDA2C}" srcOrd="1" destOrd="0" presId="urn:microsoft.com/office/officeart/2005/8/layout/default"/>
    <dgm:cxn modelId="{EA12D58F-1BF8-475B-9807-3877F3C0F6BB}" type="presParOf" srcId="{E1D4DDD5-0AC9-49B0-9ED5-6D445DA49B47}" destId="{E4035C84-917A-4CA3-8F09-245C7F3D2F83}" srcOrd="2" destOrd="0" presId="urn:microsoft.com/office/officeart/2005/8/layout/default"/>
    <dgm:cxn modelId="{E8646C90-468B-43DB-ACDD-1719BC3D1002}" type="presParOf" srcId="{E1D4DDD5-0AC9-49B0-9ED5-6D445DA49B47}" destId="{3F363986-81DB-44A0-B752-163FDBAB31B9}" srcOrd="3" destOrd="0" presId="urn:microsoft.com/office/officeart/2005/8/layout/default"/>
    <dgm:cxn modelId="{5E5F6395-2630-4B5A-9483-D1F189A4E85C}" type="presParOf" srcId="{E1D4DDD5-0AC9-49B0-9ED5-6D445DA49B47}" destId="{EF190867-2E2D-45D0-8936-7219D49B33B1}" srcOrd="4" destOrd="0" presId="urn:microsoft.com/office/officeart/2005/8/layout/default"/>
    <dgm:cxn modelId="{C55F3A3F-D3AB-4F23-A5DD-7799A959B568}" type="presParOf" srcId="{E1D4DDD5-0AC9-49B0-9ED5-6D445DA49B47}" destId="{E3061835-3864-4FEC-9232-BAB4C7F4D3DC}" srcOrd="5" destOrd="0" presId="urn:microsoft.com/office/officeart/2005/8/layout/default"/>
    <dgm:cxn modelId="{0F2B42E2-BC14-485B-A723-E353949A5716}" type="presParOf" srcId="{E1D4DDD5-0AC9-49B0-9ED5-6D445DA49B47}" destId="{4D41492D-3C3A-4623-BD40-3BBFEADE7671}" srcOrd="6" destOrd="0" presId="urn:microsoft.com/office/officeart/2005/8/layout/default"/>
    <dgm:cxn modelId="{450CE962-6FC7-40E1-8A22-AEBE6425AB93}" type="presParOf" srcId="{E1D4DDD5-0AC9-49B0-9ED5-6D445DA49B47}" destId="{03EF8970-C77B-4B80-8DCA-85D4364134C4}" srcOrd="7" destOrd="0" presId="urn:microsoft.com/office/officeart/2005/8/layout/default"/>
    <dgm:cxn modelId="{419E30EB-3489-4D6F-980B-821443F611BD}" type="presParOf" srcId="{E1D4DDD5-0AC9-49B0-9ED5-6D445DA49B47}" destId="{528600E6-DAC4-4473-83DF-A89874E18728}" srcOrd="8" destOrd="0" presId="urn:microsoft.com/office/officeart/2005/8/layout/default"/>
    <dgm:cxn modelId="{26DD9F5A-50DE-4749-BB4E-E1936D52EC0E}" type="presParOf" srcId="{E1D4DDD5-0AC9-49B0-9ED5-6D445DA49B47}" destId="{C4531C21-5E72-4466-B9BD-23B8C6D2A0CF}" srcOrd="9" destOrd="0" presId="urn:microsoft.com/office/officeart/2005/8/layout/default"/>
    <dgm:cxn modelId="{1A59C50D-FDEF-4EF7-80A6-13880D62002F}" type="presParOf" srcId="{E1D4DDD5-0AC9-49B0-9ED5-6D445DA49B47}" destId="{FBFA4FCA-8C49-48E6-AB30-E6E6F3899044}" srcOrd="10" destOrd="0" presId="urn:microsoft.com/office/officeart/2005/8/layout/default"/>
    <dgm:cxn modelId="{833413B8-DA49-4CE0-B250-712848863E0B}" type="presParOf" srcId="{E1D4DDD5-0AC9-49B0-9ED5-6D445DA49B47}" destId="{D088F1E5-CACA-4803-A458-7265234E2656}" srcOrd="11" destOrd="0" presId="urn:microsoft.com/office/officeart/2005/8/layout/default"/>
    <dgm:cxn modelId="{48C2259E-563F-41F7-9777-05F59DD21A10}" type="presParOf" srcId="{E1D4DDD5-0AC9-49B0-9ED5-6D445DA49B47}" destId="{9DEBFDAF-1C71-432A-B40E-48A2E6FFC3B2}" srcOrd="12" destOrd="0" presId="urn:microsoft.com/office/officeart/2005/8/layout/default"/>
    <dgm:cxn modelId="{9E889EB4-6E96-4C4C-BB99-8ED6CBCFAE3B}" type="presParOf" srcId="{E1D4DDD5-0AC9-49B0-9ED5-6D445DA49B47}" destId="{63EB708B-1FFD-4239-9703-7165993C3774}" srcOrd="13" destOrd="0" presId="urn:microsoft.com/office/officeart/2005/8/layout/default"/>
    <dgm:cxn modelId="{5C03394B-CCB6-482A-A72A-2B08967E2658}" type="presParOf" srcId="{E1D4DDD5-0AC9-49B0-9ED5-6D445DA49B47}" destId="{A9A60F75-365B-483E-981A-AF94B8E78582}" srcOrd="14" destOrd="0" presId="urn:microsoft.com/office/officeart/2005/8/layout/default"/>
    <dgm:cxn modelId="{556C4C4B-D453-4FEC-BDA1-D2D74D317485}" type="presParOf" srcId="{E1D4DDD5-0AC9-49B0-9ED5-6D445DA49B47}" destId="{F60F0E34-51E3-4EB2-98BC-376F0D697868}" srcOrd="15" destOrd="0" presId="urn:microsoft.com/office/officeart/2005/8/layout/default"/>
    <dgm:cxn modelId="{CD6C178D-FE7A-44DA-B2C7-4A39ADF40A9A}" type="presParOf" srcId="{E1D4DDD5-0AC9-49B0-9ED5-6D445DA49B47}" destId="{C1EC1FD7-9E01-431A-B237-847CBBF61B6E}" srcOrd="16" destOrd="0" presId="urn:microsoft.com/office/officeart/2005/8/layout/default"/>
    <dgm:cxn modelId="{46F5849C-35FA-4425-B12E-812D093B8203}" type="presParOf" srcId="{E1D4DDD5-0AC9-49B0-9ED5-6D445DA49B47}" destId="{ADFE1C76-96F0-43C0-B73B-23B2A93B9178}" srcOrd="17" destOrd="0" presId="urn:microsoft.com/office/officeart/2005/8/layout/default"/>
    <dgm:cxn modelId="{D3F094AD-8ECC-451B-A511-D86AD15FD5B1}" type="presParOf" srcId="{E1D4DDD5-0AC9-49B0-9ED5-6D445DA49B47}" destId="{80C7CD7B-9D9C-430D-B8A8-08AA08FBFC19}" srcOrd="18" destOrd="0" presId="urn:microsoft.com/office/officeart/2005/8/layout/default"/>
    <dgm:cxn modelId="{A7010698-6687-4F0A-8D53-0C4A49830CCA}" type="presParOf" srcId="{E1D4DDD5-0AC9-49B0-9ED5-6D445DA49B47}" destId="{119B5E8D-1E8B-4CAF-88D7-31CAADA6BA51}" srcOrd="19" destOrd="0" presId="urn:microsoft.com/office/officeart/2005/8/layout/default"/>
    <dgm:cxn modelId="{2661FE06-F30A-4402-8416-E203A9613305}" type="presParOf" srcId="{E1D4DDD5-0AC9-49B0-9ED5-6D445DA49B47}" destId="{B8F754A5-0562-4300-A5AD-5C9D91DA69FE}" srcOrd="20" destOrd="0" presId="urn:microsoft.com/office/officeart/2005/8/layout/default"/>
    <dgm:cxn modelId="{574E0D54-0626-4D5F-9F7B-DF9FC53CB1B4}" type="presParOf" srcId="{E1D4DDD5-0AC9-49B0-9ED5-6D445DA49B47}" destId="{2ED3C245-8B2A-439B-8D04-1E5D7D74D236}" srcOrd="21" destOrd="0" presId="urn:microsoft.com/office/officeart/2005/8/layout/default"/>
    <dgm:cxn modelId="{4FF8CD7E-1451-4CDF-B1ED-54FD3B97434E}" type="presParOf" srcId="{E1D4DDD5-0AC9-49B0-9ED5-6D445DA49B47}" destId="{BCF506C7-C145-41AA-8B9F-B2B276FE3E5E}"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B9EC5-079E-48E4-80D1-225D219A1B7E}">
      <dsp:nvSpPr>
        <dsp:cNvPr id="0" name=""/>
        <dsp:cNvSpPr/>
      </dsp:nvSpPr>
      <dsp:spPr>
        <a:xfrm>
          <a:off x="2438399" y="67733"/>
          <a:ext cx="3251200" cy="3251200"/>
        </a:xfrm>
        <a:prstGeom prst="ellipse">
          <a:avLst/>
        </a:prstGeom>
        <a:gradFill rotWithShape="0">
          <a:gsLst>
            <a:gs pos="0">
              <a:schemeClr val="accent5">
                <a:alpha val="50000"/>
                <a:hueOff val="0"/>
                <a:satOff val="0"/>
                <a:lumOff val="0"/>
                <a:alphaOff val="0"/>
                <a:shade val="51000"/>
                <a:satMod val="130000"/>
              </a:schemeClr>
            </a:gs>
            <a:gs pos="80000">
              <a:schemeClr val="accent5">
                <a:alpha val="50000"/>
                <a:hueOff val="0"/>
                <a:satOff val="0"/>
                <a:lumOff val="0"/>
                <a:alphaOff val="0"/>
                <a:shade val="93000"/>
                <a:satMod val="130000"/>
              </a:schemeClr>
            </a:gs>
            <a:gs pos="100000">
              <a:schemeClr val="accent5">
                <a:alpha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500" kern="1200" dirty="0"/>
            <a:t>Statistics</a:t>
          </a:r>
          <a:endParaRPr lang="en-IN" sz="2500" kern="1200" dirty="0"/>
        </a:p>
      </dsp:txBody>
      <dsp:txXfrm>
        <a:off x="2871893" y="636693"/>
        <a:ext cx="2384213" cy="1463040"/>
      </dsp:txXfrm>
    </dsp:sp>
    <dsp:sp modelId="{AE8157C3-120E-4AA8-8C81-AC047A5A7250}">
      <dsp:nvSpPr>
        <dsp:cNvPr id="0" name=""/>
        <dsp:cNvSpPr/>
      </dsp:nvSpPr>
      <dsp:spPr>
        <a:xfrm>
          <a:off x="3611541" y="2099733"/>
          <a:ext cx="3251200" cy="3251200"/>
        </a:xfrm>
        <a:prstGeom prst="ellipse">
          <a:avLst/>
        </a:prstGeom>
        <a:gradFill rotWithShape="0">
          <a:gsLst>
            <a:gs pos="0">
              <a:schemeClr val="accent5">
                <a:alpha val="50000"/>
                <a:hueOff val="-4966938"/>
                <a:satOff val="19906"/>
                <a:lumOff val="4314"/>
                <a:alphaOff val="0"/>
                <a:shade val="51000"/>
                <a:satMod val="130000"/>
              </a:schemeClr>
            </a:gs>
            <a:gs pos="80000">
              <a:schemeClr val="accent5">
                <a:alpha val="50000"/>
                <a:hueOff val="-4966938"/>
                <a:satOff val="19906"/>
                <a:lumOff val="4314"/>
                <a:alphaOff val="0"/>
                <a:shade val="93000"/>
                <a:satMod val="130000"/>
              </a:schemeClr>
            </a:gs>
            <a:gs pos="100000">
              <a:schemeClr val="accent5">
                <a:alpha val="50000"/>
                <a:hueOff val="-4966938"/>
                <a:satOff val="19906"/>
                <a:lumOff val="431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500" kern="1200" dirty="0"/>
            <a:t>Computational</a:t>
          </a:r>
          <a:r>
            <a:rPr lang="en-US" sz="2500" kern="1200" baseline="0" dirty="0"/>
            <a:t> Linguistics</a:t>
          </a:r>
          <a:endParaRPr lang="en-IN" sz="2500" kern="1200" dirty="0"/>
        </a:p>
      </dsp:txBody>
      <dsp:txXfrm>
        <a:off x="4605866" y="2939626"/>
        <a:ext cx="1950720" cy="1788160"/>
      </dsp:txXfrm>
    </dsp:sp>
    <dsp:sp modelId="{C2BB32EF-877D-40DC-B3BB-4316C7C5F9F3}">
      <dsp:nvSpPr>
        <dsp:cNvPr id="0" name=""/>
        <dsp:cNvSpPr/>
      </dsp:nvSpPr>
      <dsp:spPr>
        <a:xfrm>
          <a:off x="1265258" y="2099733"/>
          <a:ext cx="3251200" cy="3251200"/>
        </a:xfrm>
        <a:prstGeom prst="ellipse">
          <a:avLst/>
        </a:prstGeom>
        <a:gradFill rotWithShape="0">
          <a:gsLst>
            <a:gs pos="0">
              <a:schemeClr val="accent5">
                <a:alpha val="50000"/>
                <a:hueOff val="-9933876"/>
                <a:satOff val="39811"/>
                <a:lumOff val="8628"/>
                <a:alphaOff val="0"/>
                <a:shade val="51000"/>
                <a:satMod val="130000"/>
              </a:schemeClr>
            </a:gs>
            <a:gs pos="80000">
              <a:schemeClr val="accent5">
                <a:alpha val="50000"/>
                <a:hueOff val="-9933876"/>
                <a:satOff val="39811"/>
                <a:lumOff val="8628"/>
                <a:alphaOff val="0"/>
                <a:shade val="93000"/>
                <a:satMod val="130000"/>
              </a:schemeClr>
            </a:gs>
            <a:gs pos="100000">
              <a:schemeClr val="accent5">
                <a:alpha val="50000"/>
                <a:hueOff val="-9933876"/>
                <a:satOff val="39811"/>
                <a:lumOff val="862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500" kern="1200" dirty="0"/>
            <a:t>Machine/Deep Learning</a:t>
          </a:r>
          <a:endParaRPr lang="en-IN" sz="2500" kern="1200" dirty="0"/>
        </a:p>
      </dsp:txBody>
      <dsp:txXfrm>
        <a:off x="1571413" y="2939626"/>
        <a:ext cx="1950720" cy="17881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C1DAF7-A3D4-4A12-8F3D-C768BF6E8AE0}">
      <dsp:nvSpPr>
        <dsp:cNvPr id="0" name=""/>
        <dsp:cNvSpPr/>
      </dsp:nvSpPr>
      <dsp:spPr>
        <a:xfrm>
          <a:off x="5034" y="0"/>
          <a:ext cx="4842569" cy="4295827"/>
        </a:xfrm>
        <a:prstGeom prst="roundRect">
          <a:avLst>
            <a:gd name="adj" fmla="val 10000"/>
          </a:avLst>
        </a:prstGeom>
        <a:solidFill>
          <a:srgbClr val="A1F0FB"/>
        </a:solidFill>
        <a:ln>
          <a:noFill/>
        </a:ln>
        <a:effectLst/>
      </dsp:spPr>
      <dsp:style>
        <a:lnRef idx="0">
          <a:scrgbClr r="0" g="0" b="0"/>
        </a:lnRef>
        <a:fillRef idx="1">
          <a:scrgbClr r="0" g="0" b="0"/>
        </a:fillRef>
        <a:effectRef idx="0">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IN" sz="4000" kern="1200" dirty="0"/>
            <a:t>Semantic Knowledge</a:t>
          </a:r>
        </a:p>
      </dsp:txBody>
      <dsp:txXfrm>
        <a:off x="5034" y="0"/>
        <a:ext cx="4842569" cy="1288748"/>
      </dsp:txXfrm>
    </dsp:sp>
    <dsp:sp modelId="{AD85D193-C9AB-4461-A57A-88A5166FDDFD}">
      <dsp:nvSpPr>
        <dsp:cNvPr id="0" name=""/>
        <dsp:cNvSpPr/>
      </dsp:nvSpPr>
      <dsp:spPr>
        <a:xfrm>
          <a:off x="489291" y="1289560"/>
          <a:ext cx="3874055" cy="496967"/>
        </a:xfrm>
        <a:prstGeom prst="roundRect">
          <a:avLst>
            <a:gd name="adj" fmla="val 10000"/>
          </a:avLst>
        </a:prstGeom>
        <a:solidFill>
          <a:schemeClr val="accent4">
            <a:lumMod val="40000"/>
            <a:lumOff val="6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t>Ontology</a:t>
          </a:r>
        </a:p>
      </dsp:txBody>
      <dsp:txXfrm>
        <a:off x="503847" y="1304116"/>
        <a:ext cx="3844943" cy="467855"/>
      </dsp:txXfrm>
    </dsp:sp>
    <dsp:sp modelId="{1B674A04-E1BE-41E0-9FF1-3FC9DA8B2310}">
      <dsp:nvSpPr>
        <dsp:cNvPr id="0" name=""/>
        <dsp:cNvSpPr/>
      </dsp:nvSpPr>
      <dsp:spPr>
        <a:xfrm>
          <a:off x="489291" y="1862984"/>
          <a:ext cx="3874055" cy="496967"/>
        </a:xfrm>
        <a:prstGeom prst="roundRect">
          <a:avLst>
            <a:gd name="adj" fmla="val 10000"/>
          </a:avLst>
        </a:prstGeom>
        <a:solidFill>
          <a:schemeClr val="accent4">
            <a:lumMod val="20000"/>
            <a:lumOff val="8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t>Definitions</a:t>
          </a:r>
        </a:p>
      </dsp:txBody>
      <dsp:txXfrm>
        <a:off x="503847" y="1877540"/>
        <a:ext cx="3844943" cy="467855"/>
      </dsp:txXfrm>
    </dsp:sp>
    <dsp:sp modelId="{D12C573D-9BA5-45C1-8A0A-1C52E1917FCA}">
      <dsp:nvSpPr>
        <dsp:cNvPr id="0" name=""/>
        <dsp:cNvSpPr/>
      </dsp:nvSpPr>
      <dsp:spPr>
        <a:xfrm>
          <a:off x="489291" y="2436408"/>
          <a:ext cx="3874055" cy="496967"/>
        </a:xfrm>
        <a:prstGeom prst="roundRect">
          <a:avLst>
            <a:gd name="adj" fmla="val 10000"/>
          </a:avLst>
        </a:prstGeom>
        <a:solidFill>
          <a:schemeClr val="accent4">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t>Constraints</a:t>
          </a:r>
        </a:p>
      </dsp:txBody>
      <dsp:txXfrm>
        <a:off x="503847" y="2450964"/>
        <a:ext cx="3844943" cy="467855"/>
      </dsp:txXfrm>
    </dsp:sp>
    <dsp:sp modelId="{C0BB2EA8-3E24-4141-9505-A2BD9309EDB8}">
      <dsp:nvSpPr>
        <dsp:cNvPr id="0" name=""/>
        <dsp:cNvSpPr/>
      </dsp:nvSpPr>
      <dsp:spPr>
        <a:xfrm>
          <a:off x="489291" y="3009831"/>
          <a:ext cx="3874055" cy="496967"/>
        </a:xfrm>
        <a:prstGeom prst="roundRect">
          <a:avLst>
            <a:gd name="adj" fmla="val 10000"/>
          </a:avLst>
        </a:prstGeom>
        <a:solidFill>
          <a:schemeClr val="accent4">
            <a:lumMod val="7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t>Defaults</a:t>
          </a:r>
        </a:p>
      </dsp:txBody>
      <dsp:txXfrm>
        <a:off x="503847" y="3024387"/>
        <a:ext cx="3844943" cy="467855"/>
      </dsp:txXfrm>
    </dsp:sp>
    <dsp:sp modelId="{66C508C3-AE13-47FD-A3CE-88F04BC3AD5F}">
      <dsp:nvSpPr>
        <dsp:cNvPr id="0" name=""/>
        <dsp:cNvSpPr/>
      </dsp:nvSpPr>
      <dsp:spPr>
        <a:xfrm>
          <a:off x="489291" y="3583255"/>
          <a:ext cx="3874055" cy="496967"/>
        </a:xfrm>
        <a:prstGeom prst="roundRect">
          <a:avLst>
            <a:gd name="adj" fmla="val 10000"/>
          </a:avLst>
        </a:prstGeom>
        <a:solidFill>
          <a:schemeClr val="accent4">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t>Behaviours</a:t>
          </a:r>
        </a:p>
      </dsp:txBody>
      <dsp:txXfrm>
        <a:off x="503847" y="3597811"/>
        <a:ext cx="3844943" cy="467855"/>
      </dsp:txXfrm>
    </dsp:sp>
    <dsp:sp modelId="{28089396-F38C-4348-8DF3-0F6A7DEFAB48}">
      <dsp:nvSpPr>
        <dsp:cNvPr id="0" name=""/>
        <dsp:cNvSpPr/>
      </dsp:nvSpPr>
      <dsp:spPr>
        <a:xfrm>
          <a:off x="5210796" y="0"/>
          <a:ext cx="4842569" cy="4295827"/>
        </a:xfrm>
        <a:prstGeom prst="roundRect">
          <a:avLst>
            <a:gd name="adj" fmla="val 10000"/>
          </a:avLst>
        </a:prstGeom>
        <a:solidFill>
          <a:srgbClr val="CCCC00"/>
        </a:solidFill>
        <a:ln>
          <a:noFill/>
        </a:ln>
        <a:effectLst/>
      </dsp:spPr>
      <dsp:style>
        <a:lnRef idx="0">
          <a:scrgbClr r="0" g="0" b="0"/>
        </a:lnRef>
        <a:fillRef idx="1">
          <a:scrgbClr r="0" g="0" b="0"/>
        </a:fillRef>
        <a:effectRef idx="0">
          <a:scrgbClr r="0" g="0" b="0"/>
        </a:effectRef>
        <a:fontRef idx="minor"/>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IN" sz="4000" kern="1200" dirty="0"/>
            <a:t>Episodic Knowledge</a:t>
          </a:r>
        </a:p>
      </dsp:txBody>
      <dsp:txXfrm>
        <a:off x="5210796" y="0"/>
        <a:ext cx="4842569" cy="1288748"/>
      </dsp:txXfrm>
    </dsp:sp>
    <dsp:sp modelId="{20330BFC-04B4-4EBA-92A0-FD6433537C88}">
      <dsp:nvSpPr>
        <dsp:cNvPr id="0" name=""/>
        <dsp:cNvSpPr/>
      </dsp:nvSpPr>
      <dsp:spPr>
        <a:xfrm>
          <a:off x="5695053" y="1290006"/>
          <a:ext cx="3874055" cy="1295250"/>
        </a:xfrm>
        <a:prstGeom prst="roundRect">
          <a:avLst>
            <a:gd name="adj" fmla="val 10000"/>
          </a:avLst>
        </a:prstGeom>
        <a:solidFill>
          <a:srgbClr val="FCA0E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It contains remembered instances of ontological </a:t>
          </a:r>
        </a:p>
        <a:p>
          <a:pPr marL="0" lvl="0" indent="0" algn="ctr" defTabSz="711200">
            <a:lnSpc>
              <a:spcPct val="90000"/>
            </a:lnSpc>
            <a:spcBef>
              <a:spcPct val="0"/>
            </a:spcBef>
            <a:spcAft>
              <a:spcPct val="35000"/>
            </a:spcAft>
            <a:buNone/>
          </a:pPr>
          <a:r>
            <a:rPr lang="en-US" sz="1600" b="1" kern="1200" dirty="0">
              <a:solidFill>
                <a:schemeClr val="tx1"/>
              </a:solidFill>
            </a:rPr>
            <a:t>concepts </a:t>
          </a:r>
          <a:r>
            <a:rPr lang="en-US" sz="1600" kern="1200" dirty="0">
              <a:solidFill>
                <a:schemeClr val="tx1"/>
              </a:solidFill>
            </a:rPr>
            <a:t>(such as people, places, organizations, events, etc.),</a:t>
          </a:r>
          <a:endParaRPr lang="en-IN" sz="1600" kern="1200" dirty="0">
            <a:solidFill>
              <a:schemeClr val="tx1"/>
            </a:solidFill>
          </a:endParaRPr>
        </a:p>
      </dsp:txBody>
      <dsp:txXfrm>
        <a:off x="5732990" y="1327943"/>
        <a:ext cx="3798181" cy="1219376"/>
      </dsp:txXfrm>
    </dsp:sp>
    <dsp:sp modelId="{285B4D9F-5AE9-48EE-972F-F298B35C6A8F}">
      <dsp:nvSpPr>
        <dsp:cNvPr id="0" name=""/>
        <dsp:cNvSpPr/>
      </dsp:nvSpPr>
      <dsp:spPr>
        <a:xfrm>
          <a:off x="5695053" y="2784526"/>
          <a:ext cx="3874055" cy="1295250"/>
        </a:xfrm>
        <a:prstGeom prst="roundRect">
          <a:avLst>
            <a:gd name="adj" fmla="val 10000"/>
          </a:avLst>
        </a:prstGeom>
        <a:solidFill>
          <a:srgbClr val="F0FE9E"/>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IN" sz="1600" kern="1200" dirty="0">
              <a:solidFill>
                <a:schemeClr val="tx1"/>
              </a:solidFill>
            </a:rPr>
            <a:t>It resolves around instances or events</a:t>
          </a:r>
        </a:p>
        <a:p>
          <a:pPr marL="0" lvl="0" indent="0" algn="ctr" defTabSz="711200">
            <a:lnSpc>
              <a:spcPct val="90000"/>
            </a:lnSpc>
            <a:spcBef>
              <a:spcPct val="0"/>
            </a:spcBef>
            <a:spcAft>
              <a:spcPct val="35000"/>
            </a:spcAft>
            <a:buNone/>
          </a:pPr>
          <a:r>
            <a:rPr lang="en-IN" sz="1600" kern="1200" dirty="0">
              <a:solidFill>
                <a:schemeClr val="tx1"/>
              </a:solidFill>
            </a:rPr>
            <a:t>Examples: Discrete or Continuous Events</a:t>
          </a:r>
        </a:p>
        <a:p>
          <a:pPr marL="0" lvl="0" indent="0" algn="ctr" defTabSz="711200">
            <a:lnSpc>
              <a:spcPct val="90000"/>
            </a:lnSpc>
            <a:spcBef>
              <a:spcPct val="0"/>
            </a:spcBef>
            <a:spcAft>
              <a:spcPct val="35000"/>
            </a:spcAft>
            <a:buNone/>
          </a:pPr>
          <a:r>
            <a:rPr lang="en-IN" sz="1600" kern="1200" dirty="0">
              <a:solidFill>
                <a:schemeClr val="tx1"/>
              </a:solidFill>
            </a:rPr>
            <a:t>Linear or Branching Events</a:t>
          </a:r>
        </a:p>
        <a:p>
          <a:pPr marL="0" lvl="0" indent="0" algn="ctr" defTabSz="711200">
            <a:lnSpc>
              <a:spcPct val="90000"/>
            </a:lnSpc>
            <a:spcBef>
              <a:spcPct val="0"/>
            </a:spcBef>
            <a:spcAft>
              <a:spcPct val="35000"/>
            </a:spcAft>
            <a:buNone/>
          </a:pPr>
          <a:r>
            <a:rPr lang="en-IN" sz="1600" kern="1200" dirty="0">
              <a:solidFill>
                <a:schemeClr val="tx1"/>
              </a:solidFill>
            </a:rPr>
            <a:t>Immediate or delayed Events</a:t>
          </a:r>
        </a:p>
      </dsp:txBody>
      <dsp:txXfrm>
        <a:off x="5732990" y="2822463"/>
        <a:ext cx="3798181" cy="121937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1D8A3A-E7D4-4B92-AC75-66B2F5C62E46}">
      <dsp:nvSpPr>
        <dsp:cNvPr id="0" name=""/>
        <dsp:cNvSpPr/>
      </dsp:nvSpPr>
      <dsp:spPr>
        <a:xfrm>
          <a:off x="6789266" y="2531518"/>
          <a:ext cx="467829" cy="91440"/>
        </a:xfrm>
        <a:custGeom>
          <a:avLst/>
          <a:gdLst/>
          <a:ahLst/>
          <a:cxnLst/>
          <a:rect l="0" t="0" r="0" b="0"/>
          <a:pathLst>
            <a:path>
              <a:moveTo>
                <a:pt x="0" y="45720"/>
              </a:moveTo>
              <a:lnTo>
                <a:pt x="467829" y="4572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7011485" y="2565543"/>
        <a:ext cx="23391" cy="23391"/>
      </dsp:txXfrm>
    </dsp:sp>
    <dsp:sp modelId="{7AB2F099-167B-42A4-AFBC-2823508D1DD0}">
      <dsp:nvSpPr>
        <dsp:cNvPr id="0" name=""/>
        <dsp:cNvSpPr/>
      </dsp:nvSpPr>
      <dsp:spPr>
        <a:xfrm>
          <a:off x="3982288" y="2531518"/>
          <a:ext cx="467829" cy="91440"/>
        </a:xfrm>
        <a:custGeom>
          <a:avLst/>
          <a:gdLst/>
          <a:ahLst/>
          <a:cxnLst/>
          <a:rect l="0" t="0" r="0" b="0"/>
          <a:pathLst>
            <a:path>
              <a:moveTo>
                <a:pt x="0" y="45720"/>
              </a:moveTo>
              <a:lnTo>
                <a:pt x="467829" y="4572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204507" y="2565543"/>
        <a:ext cx="23391" cy="23391"/>
      </dsp:txXfrm>
    </dsp:sp>
    <dsp:sp modelId="{7F7FA384-12CD-43CE-8458-8D8486517A0B}">
      <dsp:nvSpPr>
        <dsp:cNvPr id="0" name=""/>
        <dsp:cNvSpPr/>
      </dsp:nvSpPr>
      <dsp:spPr>
        <a:xfrm>
          <a:off x="1175311" y="1880394"/>
          <a:ext cx="467829" cy="696844"/>
        </a:xfrm>
        <a:custGeom>
          <a:avLst/>
          <a:gdLst/>
          <a:ahLst/>
          <a:cxnLst/>
          <a:rect l="0" t="0" r="0" b="0"/>
          <a:pathLst>
            <a:path>
              <a:moveTo>
                <a:pt x="0" y="0"/>
              </a:moveTo>
              <a:lnTo>
                <a:pt x="233914" y="0"/>
              </a:lnTo>
              <a:lnTo>
                <a:pt x="233914" y="696844"/>
              </a:lnTo>
              <a:lnTo>
                <a:pt x="467829" y="696844"/>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1388243" y="2207833"/>
        <a:ext cx="41965" cy="41965"/>
      </dsp:txXfrm>
    </dsp:sp>
    <dsp:sp modelId="{E61F90D8-275D-4041-B9E3-FE6EDBC383C9}">
      <dsp:nvSpPr>
        <dsp:cNvPr id="0" name=""/>
        <dsp:cNvSpPr/>
      </dsp:nvSpPr>
      <dsp:spPr>
        <a:xfrm>
          <a:off x="3982288" y="1137829"/>
          <a:ext cx="467829" cy="91440"/>
        </a:xfrm>
        <a:custGeom>
          <a:avLst/>
          <a:gdLst/>
          <a:ahLst/>
          <a:cxnLst/>
          <a:rect l="0" t="0" r="0" b="0"/>
          <a:pathLst>
            <a:path>
              <a:moveTo>
                <a:pt x="0" y="45720"/>
              </a:moveTo>
              <a:lnTo>
                <a:pt x="467829" y="4572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204507" y="1171853"/>
        <a:ext cx="23391" cy="23391"/>
      </dsp:txXfrm>
    </dsp:sp>
    <dsp:sp modelId="{F368002C-D254-4406-A4DB-133BF74D20A0}">
      <dsp:nvSpPr>
        <dsp:cNvPr id="0" name=""/>
        <dsp:cNvSpPr/>
      </dsp:nvSpPr>
      <dsp:spPr>
        <a:xfrm>
          <a:off x="1175311" y="1183549"/>
          <a:ext cx="467829" cy="696844"/>
        </a:xfrm>
        <a:custGeom>
          <a:avLst/>
          <a:gdLst/>
          <a:ahLst/>
          <a:cxnLst/>
          <a:rect l="0" t="0" r="0" b="0"/>
          <a:pathLst>
            <a:path>
              <a:moveTo>
                <a:pt x="0" y="696844"/>
              </a:moveTo>
              <a:lnTo>
                <a:pt x="233914" y="696844"/>
              </a:lnTo>
              <a:lnTo>
                <a:pt x="233914" y="0"/>
              </a:lnTo>
              <a:lnTo>
                <a:pt x="467829"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1388243" y="1510988"/>
        <a:ext cx="41965" cy="41965"/>
      </dsp:txXfrm>
    </dsp:sp>
    <dsp:sp modelId="{C82D2CCF-6E8D-44DB-BD53-98E7C54CC340}">
      <dsp:nvSpPr>
        <dsp:cNvPr id="0" name=""/>
        <dsp:cNvSpPr/>
      </dsp:nvSpPr>
      <dsp:spPr>
        <a:xfrm rot="16200000">
          <a:off x="-1057989" y="1523816"/>
          <a:ext cx="3753446" cy="713154"/>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2222500">
            <a:lnSpc>
              <a:spcPct val="90000"/>
            </a:lnSpc>
            <a:spcBef>
              <a:spcPct val="0"/>
            </a:spcBef>
            <a:spcAft>
              <a:spcPct val="35000"/>
            </a:spcAft>
            <a:buNone/>
          </a:pPr>
          <a:r>
            <a:rPr lang="en-IN" sz="5000" kern="1200" dirty="0"/>
            <a:t>Evaluation</a:t>
          </a:r>
        </a:p>
      </dsp:txBody>
      <dsp:txXfrm>
        <a:off x="-1057989" y="1523816"/>
        <a:ext cx="3753446" cy="713154"/>
      </dsp:txXfrm>
    </dsp:sp>
    <dsp:sp modelId="{FC018ACA-7DD0-4103-85A1-C8593DD2F122}">
      <dsp:nvSpPr>
        <dsp:cNvPr id="0" name=""/>
        <dsp:cNvSpPr/>
      </dsp:nvSpPr>
      <dsp:spPr>
        <a:xfrm>
          <a:off x="1643141" y="826971"/>
          <a:ext cx="2339147" cy="713154"/>
        </a:xfrm>
        <a:prstGeom prst="rect">
          <a:avLst/>
        </a:prstGeom>
        <a:solidFill>
          <a:srgbClr val="A1F0FB"/>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IN" sz="1500" b="1" kern="1200" dirty="0"/>
            <a:t>Extrinsic Evaluation</a:t>
          </a:r>
        </a:p>
      </dsp:txBody>
      <dsp:txXfrm>
        <a:off x="1643141" y="826971"/>
        <a:ext cx="2339147" cy="713154"/>
      </dsp:txXfrm>
    </dsp:sp>
    <dsp:sp modelId="{23BF540B-9BDA-4207-852F-41251270460B}">
      <dsp:nvSpPr>
        <dsp:cNvPr id="0" name=""/>
        <dsp:cNvSpPr/>
      </dsp:nvSpPr>
      <dsp:spPr>
        <a:xfrm>
          <a:off x="4450118" y="670116"/>
          <a:ext cx="2404854" cy="1026864"/>
        </a:xfrm>
        <a:prstGeom prst="rect">
          <a:avLst/>
        </a:prstGeom>
        <a:solidFill>
          <a:srgbClr val="FCA0E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solidFill>
                <a:prstClr val="white"/>
              </a:solidFill>
              <a:latin typeface="Franklin Gothic Book" panose="020F0502020204030204"/>
              <a:ea typeface="+mn-ea"/>
              <a:cs typeface="+mn-cs"/>
            </a:rPr>
            <a:t>End –End Evaluation-Embed the model into application and measures the performance</a:t>
          </a:r>
        </a:p>
      </dsp:txBody>
      <dsp:txXfrm>
        <a:off x="4450118" y="670116"/>
        <a:ext cx="2404854" cy="1026864"/>
      </dsp:txXfrm>
    </dsp:sp>
    <dsp:sp modelId="{8ABA42D3-6009-4D15-8753-7FF52E0E69A1}">
      <dsp:nvSpPr>
        <dsp:cNvPr id="0" name=""/>
        <dsp:cNvSpPr/>
      </dsp:nvSpPr>
      <dsp:spPr>
        <a:xfrm>
          <a:off x="1643141" y="2220661"/>
          <a:ext cx="2339147" cy="713154"/>
        </a:xfrm>
        <a:prstGeom prst="rect">
          <a:avLst/>
        </a:prstGeom>
        <a:solidFill>
          <a:schemeClr val="accent5">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IN" sz="1500" b="1" kern="1200" dirty="0"/>
            <a:t>Intrinsic Evaluation</a:t>
          </a:r>
        </a:p>
      </dsp:txBody>
      <dsp:txXfrm>
        <a:off x="1643141" y="2220661"/>
        <a:ext cx="2339147" cy="713154"/>
      </dsp:txXfrm>
    </dsp:sp>
    <dsp:sp modelId="{46F1CBF7-B1CE-40B1-BDFF-4F11946F9BAF}">
      <dsp:nvSpPr>
        <dsp:cNvPr id="0" name=""/>
        <dsp:cNvSpPr/>
      </dsp:nvSpPr>
      <dsp:spPr>
        <a:xfrm>
          <a:off x="4450118" y="2220661"/>
          <a:ext cx="2339147" cy="713154"/>
        </a:xfrm>
        <a:prstGeom prst="rect">
          <a:avLst/>
        </a:prstGeom>
        <a:solidFill>
          <a:srgbClr val="99CC0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IN" sz="1500" kern="1200" dirty="0"/>
            <a:t>It measures the quality of the model independent of the application </a:t>
          </a:r>
        </a:p>
      </dsp:txBody>
      <dsp:txXfrm>
        <a:off x="4450118" y="2220661"/>
        <a:ext cx="2339147" cy="713154"/>
      </dsp:txXfrm>
    </dsp:sp>
    <dsp:sp modelId="{9EE57B17-2BFE-48E3-95D6-C515F18DDE34}">
      <dsp:nvSpPr>
        <dsp:cNvPr id="0" name=""/>
        <dsp:cNvSpPr/>
      </dsp:nvSpPr>
      <dsp:spPr>
        <a:xfrm>
          <a:off x="7257095" y="1875269"/>
          <a:ext cx="2339147" cy="1403937"/>
        </a:xfrm>
        <a:prstGeom prst="rect">
          <a:avLst/>
        </a:prstGeom>
        <a:solidFill>
          <a:srgbClr val="E329A5"/>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IN" sz="1500" kern="1200" dirty="0"/>
            <a:t>Test Corpus is required for evaluation</a:t>
          </a:r>
        </a:p>
        <a:p>
          <a:pPr marL="0" lvl="0" indent="0" algn="ctr" defTabSz="666750">
            <a:lnSpc>
              <a:spcPct val="90000"/>
            </a:lnSpc>
            <a:spcBef>
              <a:spcPct val="0"/>
            </a:spcBef>
            <a:spcAft>
              <a:spcPct val="35000"/>
            </a:spcAft>
            <a:buNone/>
          </a:pPr>
          <a:r>
            <a:rPr lang="en-IN" sz="1500" kern="1200" dirty="0"/>
            <a:t>Whichever model predicts higher probability  to the test set is the best model</a:t>
          </a:r>
        </a:p>
      </dsp:txBody>
      <dsp:txXfrm>
        <a:off x="7257095" y="1875269"/>
        <a:ext cx="2339147" cy="140393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5CFED-4B0C-4755-B6AB-8600BB641C2C}">
      <dsp:nvSpPr>
        <dsp:cNvPr id="0" name=""/>
        <dsp:cNvSpPr/>
      </dsp:nvSpPr>
      <dsp:spPr>
        <a:xfrm>
          <a:off x="32313" y="0"/>
          <a:ext cx="6925636" cy="1171232"/>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IN" sz="2000" kern="1200" dirty="0"/>
            <a:t>Laplace Smoothing- Add one to all the n gram counts before normalize into probabilities.</a:t>
          </a:r>
        </a:p>
      </dsp:txBody>
      <dsp:txXfrm>
        <a:off x="66617" y="34304"/>
        <a:ext cx="6857028" cy="1102624"/>
      </dsp:txXfrm>
    </dsp:sp>
    <dsp:sp modelId="{B2679090-957F-4C40-AF55-37BE29966C8E}">
      <dsp:nvSpPr>
        <dsp:cNvPr id="0" name=""/>
        <dsp:cNvSpPr/>
      </dsp:nvSpPr>
      <dsp:spPr>
        <a:xfrm>
          <a:off x="10883" y="1223966"/>
          <a:ext cx="1644313" cy="1902381"/>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kern="1200" dirty="0"/>
            <a:t>Add one smoothing</a:t>
          </a:r>
        </a:p>
        <a:p>
          <a:pPr marL="0" lvl="0" indent="0" algn="ctr" defTabSz="711200">
            <a:lnSpc>
              <a:spcPct val="90000"/>
            </a:lnSpc>
            <a:spcBef>
              <a:spcPct val="0"/>
            </a:spcBef>
            <a:spcAft>
              <a:spcPct val="35000"/>
            </a:spcAft>
            <a:buNone/>
          </a:pPr>
          <a:r>
            <a:rPr lang="en-IN" sz="1600" kern="1200" dirty="0"/>
            <a:t>V – Words in Vocabulary</a:t>
          </a:r>
        </a:p>
      </dsp:txBody>
      <dsp:txXfrm>
        <a:off x="59043" y="1272126"/>
        <a:ext cx="1547993" cy="1806061"/>
      </dsp:txXfrm>
    </dsp:sp>
    <dsp:sp modelId="{246BCFB8-F08C-465E-971A-1BEF30028189}">
      <dsp:nvSpPr>
        <dsp:cNvPr id="0" name=""/>
        <dsp:cNvSpPr/>
      </dsp:nvSpPr>
      <dsp:spPr>
        <a:xfrm>
          <a:off x="1694027" y="1216296"/>
          <a:ext cx="1765944" cy="2004728"/>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kern="1200" dirty="0"/>
            <a:t>Add k Smoothing instead of one fractional count  k added</a:t>
          </a:r>
        </a:p>
      </dsp:txBody>
      <dsp:txXfrm>
        <a:off x="1745750" y="1268019"/>
        <a:ext cx="1662498" cy="1901282"/>
      </dsp:txXfrm>
    </dsp:sp>
    <dsp:sp modelId="{76A7D717-4A10-45EC-9EF7-C59C1877AA55}">
      <dsp:nvSpPr>
        <dsp:cNvPr id="0" name=""/>
        <dsp:cNvSpPr/>
      </dsp:nvSpPr>
      <dsp:spPr>
        <a:xfrm>
          <a:off x="3442750" y="1153022"/>
          <a:ext cx="3281138" cy="241581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kern="1200" dirty="0"/>
            <a:t>Backoff :  to lower order n gram only if higher order n gram has zero evidence. Interpolation: Combine different order n grams by interpolation.  </a:t>
          </a:r>
        </a:p>
      </dsp:txBody>
      <dsp:txXfrm>
        <a:off x="3513507" y="1223779"/>
        <a:ext cx="3139624" cy="2274296"/>
      </dsp:txXfrm>
    </dsp:sp>
    <dsp:sp modelId="{E7114CDD-CEB9-4809-A36E-21DE925E8C5C}">
      <dsp:nvSpPr>
        <dsp:cNvPr id="0" name=""/>
        <dsp:cNvSpPr/>
      </dsp:nvSpPr>
      <dsp:spPr>
        <a:xfrm>
          <a:off x="7146986" y="1465"/>
          <a:ext cx="2661921" cy="172738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IN" sz="2000" kern="1200" dirty="0" err="1"/>
            <a:t>Kneser</a:t>
          </a:r>
          <a:r>
            <a:rPr lang="en-IN" sz="2000" kern="1200" dirty="0"/>
            <a:t>-Ney Smoothing Low order n grams probability estimator.</a:t>
          </a:r>
        </a:p>
        <a:p>
          <a:pPr marL="0" lvl="0" indent="0" algn="ctr" defTabSz="889000">
            <a:lnSpc>
              <a:spcPct val="90000"/>
            </a:lnSpc>
            <a:spcBef>
              <a:spcPct val="0"/>
            </a:spcBef>
            <a:spcAft>
              <a:spcPct val="35000"/>
            </a:spcAft>
            <a:buNone/>
          </a:pPr>
          <a:endParaRPr lang="en-IN" sz="2000" kern="1200" dirty="0"/>
        </a:p>
      </dsp:txBody>
      <dsp:txXfrm>
        <a:off x="7197579" y="52058"/>
        <a:ext cx="2560735" cy="1626194"/>
      </dsp:txXfrm>
    </dsp:sp>
    <dsp:sp modelId="{A678E616-2551-4D89-BACF-64852F065721}">
      <dsp:nvSpPr>
        <dsp:cNvPr id="0" name=""/>
        <dsp:cNvSpPr/>
      </dsp:nvSpPr>
      <dsp:spPr>
        <a:xfrm>
          <a:off x="7149637" y="1966929"/>
          <a:ext cx="1274870" cy="1963703"/>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kern="1200" dirty="0"/>
            <a:t>Absolute discounting: Subtracts a discount d from each count.</a:t>
          </a:r>
        </a:p>
      </dsp:txBody>
      <dsp:txXfrm>
        <a:off x="7186977" y="2004269"/>
        <a:ext cx="1200190" cy="1889023"/>
      </dsp:txXfrm>
    </dsp:sp>
    <dsp:sp modelId="{4A0A2808-6C4B-4E8E-8CE2-31304DBB04E2}">
      <dsp:nvSpPr>
        <dsp:cNvPr id="0" name=""/>
        <dsp:cNvSpPr/>
      </dsp:nvSpPr>
      <dsp:spPr>
        <a:xfrm>
          <a:off x="8531387" y="1966929"/>
          <a:ext cx="1274870" cy="2019946"/>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kern="1200" dirty="0"/>
            <a:t>A frequent word occurring in only one context has lower  continuation probability</a:t>
          </a:r>
        </a:p>
        <a:p>
          <a:pPr marL="0" lvl="0" indent="0" algn="ctr" defTabSz="711200">
            <a:lnSpc>
              <a:spcPct val="90000"/>
            </a:lnSpc>
            <a:spcBef>
              <a:spcPct val="0"/>
            </a:spcBef>
            <a:spcAft>
              <a:spcPct val="35000"/>
            </a:spcAft>
            <a:buNone/>
          </a:pPr>
          <a:endParaRPr lang="en-IN" sz="1600" kern="1200" dirty="0"/>
        </a:p>
      </dsp:txBody>
      <dsp:txXfrm>
        <a:off x="8568727" y="2004269"/>
        <a:ext cx="1200190" cy="194526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F0CF8-87BE-46BA-934B-FF30ADA24B60}">
      <dsp:nvSpPr>
        <dsp:cNvPr id="0" name=""/>
        <dsp:cNvSpPr/>
      </dsp:nvSpPr>
      <dsp:spPr>
        <a:xfrm>
          <a:off x="0" y="588624"/>
          <a:ext cx="10911226" cy="3572100"/>
        </a:xfrm>
        <a:prstGeom prst="rect">
          <a:avLst/>
        </a:prstGeom>
        <a:solidFill>
          <a:schemeClr val="lt1">
            <a:alpha val="90000"/>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6832" tIns="374904" rIns="84683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ase Normalization: P</a:t>
          </a:r>
          <a:r>
            <a:rPr lang="en-US" sz="1800" b="0" i="0" kern="1200" dirty="0"/>
            <a:t>rocess of consolidating multiple spellings of a single word that differ only in capitalization.</a:t>
          </a:r>
          <a:endParaRPr lang="en-IN" sz="1800" kern="1200" dirty="0"/>
        </a:p>
        <a:p>
          <a:pPr marL="171450" lvl="1" indent="-171450" algn="l" defTabSz="800100">
            <a:lnSpc>
              <a:spcPct val="90000"/>
            </a:lnSpc>
            <a:spcBef>
              <a:spcPct val="0"/>
            </a:spcBef>
            <a:spcAft>
              <a:spcPct val="15000"/>
            </a:spcAft>
            <a:buChar char="•"/>
          </a:pPr>
          <a:r>
            <a:rPr lang="en-US" sz="1800" kern="1200" dirty="0"/>
            <a:t>Stop Word Removal: </a:t>
          </a:r>
          <a:r>
            <a:rPr lang="en-US" sz="1800" b="0" i="0" kern="1200" dirty="0"/>
            <a:t>Stop words are the English words which does not add much meaning to a sentence.</a:t>
          </a:r>
          <a:endParaRPr lang="en-IN" sz="1800" kern="1200" dirty="0"/>
        </a:p>
        <a:p>
          <a:pPr marL="171450" lvl="1" indent="-171450" algn="l" defTabSz="800100">
            <a:lnSpc>
              <a:spcPct val="90000"/>
            </a:lnSpc>
            <a:spcBef>
              <a:spcPct val="0"/>
            </a:spcBef>
            <a:spcAft>
              <a:spcPct val="15000"/>
            </a:spcAft>
            <a:buChar char="•"/>
          </a:pPr>
          <a:r>
            <a:rPr lang="en-US" sz="1800" kern="1200" dirty="0"/>
            <a:t>Punctuation Removal: Remove special characters </a:t>
          </a:r>
          <a:endParaRPr lang="en-IN" sz="1800" kern="1200" dirty="0"/>
        </a:p>
        <a:p>
          <a:pPr marL="171450" lvl="1" indent="-171450" algn="l" defTabSz="800100">
            <a:lnSpc>
              <a:spcPct val="90000"/>
            </a:lnSpc>
            <a:spcBef>
              <a:spcPct val="0"/>
            </a:spcBef>
            <a:spcAft>
              <a:spcPct val="15000"/>
            </a:spcAft>
            <a:buChar char="•"/>
          </a:pPr>
          <a:r>
            <a:rPr lang="en-US" sz="1800" kern="1200" dirty="0"/>
            <a:t>Tokenization: Splitting text into paragraphs to sentences to words to characters</a:t>
          </a:r>
          <a:endParaRPr lang="en-IN" sz="1800" kern="1200" dirty="0"/>
        </a:p>
        <a:p>
          <a:pPr marL="171450" lvl="1" indent="-171450" algn="l" defTabSz="800100">
            <a:lnSpc>
              <a:spcPct val="90000"/>
            </a:lnSpc>
            <a:spcBef>
              <a:spcPct val="0"/>
            </a:spcBef>
            <a:spcAft>
              <a:spcPct val="15000"/>
            </a:spcAft>
            <a:buChar char="•"/>
          </a:pPr>
          <a:r>
            <a:rPr lang="en-US" sz="1800" kern="1200" dirty="0"/>
            <a:t>Stemming: </a:t>
          </a:r>
          <a:r>
            <a:rPr lang="en-US" sz="1800" b="0" i="0" kern="1200" dirty="0"/>
            <a:t>process of reducing inflection in words (e.g. troubled, troubles) to their root form (e.g. trouble) ( remove some characters from words)</a:t>
          </a:r>
          <a:endParaRPr lang="en-IN" sz="1800" kern="1200" dirty="0"/>
        </a:p>
        <a:p>
          <a:pPr marL="171450" lvl="1" indent="-171450" algn="l" defTabSz="800100">
            <a:lnSpc>
              <a:spcPct val="90000"/>
            </a:lnSpc>
            <a:spcBef>
              <a:spcPct val="0"/>
            </a:spcBef>
            <a:spcAft>
              <a:spcPct val="15000"/>
            </a:spcAft>
            <a:buChar char="•"/>
          </a:pPr>
          <a:r>
            <a:rPr lang="en-US" sz="1800" kern="1200" dirty="0"/>
            <a:t>Lemmatization: </a:t>
          </a:r>
          <a:r>
            <a:rPr lang="en-US" sz="1800" b="0" i="0" kern="1200" dirty="0"/>
            <a:t>transforms words to the actual root by use specific rules or dictionary lookup approach</a:t>
          </a:r>
          <a:endParaRPr lang="en-IN" sz="1800" kern="1200" dirty="0"/>
        </a:p>
        <a:p>
          <a:pPr marL="171450" lvl="1" indent="-171450" algn="l" defTabSz="800100">
            <a:lnSpc>
              <a:spcPct val="90000"/>
            </a:lnSpc>
            <a:spcBef>
              <a:spcPct val="0"/>
            </a:spcBef>
            <a:spcAft>
              <a:spcPct val="15000"/>
            </a:spcAft>
            <a:buChar char="•"/>
          </a:pPr>
          <a:r>
            <a:rPr lang="en-US" sz="1800" kern="1200" dirty="0"/>
            <a:t>POS Tagging: </a:t>
          </a:r>
          <a:r>
            <a:rPr lang="en-US" sz="1800" b="0" i="0" kern="1200" dirty="0"/>
            <a:t>POS tagging is a task of labelling each word in a sentence with its appropriate part of speech</a:t>
          </a:r>
          <a:endParaRPr lang="en-IN" sz="1800" kern="1200" dirty="0"/>
        </a:p>
      </dsp:txBody>
      <dsp:txXfrm>
        <a:off x="0" y="588624"/>
        <a:ext cx="10911226" cy="3572100"/>
      </dsp:txXfrm>
    </dsp:sp>
    <dsp:sp modelId="{D55C9D69-12F7-44B4-AEF9-42805929A935}">
      <dsp:nvSpPr>
        <dsp:cNvPr id="0" name=""/>
        <dsp:cNvSpPr/>
      </dsp:nvSpPr>
      <dsp:spPr>
        <a:xfrm>
          <a:off x="135815" y="0"/>
          <a:ext cx="10395237" cy="808549"/>
        </a:xfrm>
        <a:prstGeom prst="round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8693" tIns="0" rIns="288693" bIns="0" numCol="1" spcCol="1270" anchor="ctr" anchorCtr="0">
          <a:noAutofit/>
        </a:bodyPr>
        <a:lstStyle/>
        <a:p>
          <a:pPr marL="0" lvl="0" indent="0" algn="l" defTabSz="1066800">
            <a:lnSpc>
              <a:spcPct val="90000"/>
            </a:lnSpc>
            <a:spcBef>
              <a:spcPct val="0"/>
            </a:spcBef>
            <a:spcAft>
              <a:spcPct val="35000"/>
            </a:spcAft>
            <a:buNone/>
          </a:pPr>
          <a:r>
            <a:rPr lang="en-US" sz="2400" kern="1200" dirty="0"/>
            <a:t>Text Normalization: Improves </a:t>
          </a:r>
          <a:r>
            <a:rPr lang="en-US" sz="2400" b="0" i="0" kern="1200" dirty="0"/>
            <a:t>quality of the text and making it suitable for machines to process</a:t>
          </a:r>
          <a:endParaRPr lang="en-IN" sz="2400" kern="1200" dirty="0"/>
        </a:p>
      </dsp:txBody>
      <dsp:txXfrm>
        <a:off x="175285" y="39470"/>
        <a:ext cx="10316297" cy="729609"/>
      </dsp:txXfrm>
    </dsp:sp>
    <dsp:sp modelId="{1BBA5898-EEE3-4A36-97E2-9AC3C35B76A3}">
      <dsp:nvSpPr>
        <dsp:cNvPr id="0" name=""/>
        <dsp:cNvSpPr/>
      </dsp:nvSpPr>
      <dsp:spPr>
        <a:xfrm>
          <a:off x="0" y="4654611"/>
          <a:ext cx="10911226" cy="1389150"/>
        </a:xfrm>
        <a:prstGeom prst="rect">
          <a:avLst/>
        </a:prstGeom>
        <a:solidFill>
          <a:schemeClr val="lt1">
            <a:alpha val="90000"/>
            <a:hueOff val="0"/>
            <a:satOff val="0"/>
            <a:lumOff val="0"/>
            <a:alphaOff val="0"/>
          </a:schemeClr>
        </a:solidFill>
        <a:ln w="15875" cap="flat" cmpd="sng" algn="ctr">
          <a:solidFill>
            <a:schemeClr val="accent4">
              <a:hueOff val="9644969"/>
              <a:satOff val="-8667"/>
              <a:lumOff val="-137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6832" tIns="374904" rIns="846832"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Count Vectorization- </a:t>
          </a:r>
          <a:r>
            <a:rPr lang="en-US" sz="2000" b="1" i="0" kern="1200">
              <a:latin typeface="Tw Cen MT" panose="020B0602020104020603"/>
              <a:ea typeface="+mn-ea"/>
              <a:cs typeface="+mn-cs"/>
            </a:rPr>
            <a:t>Bags-of-Words</a:t>
          </a:r>
          <a:endParaRPr lang="en-IN" sz="2000" b="1" i="0" kern="1200" dirty="0">
            <a:latin typeface="Tw Cen MT" panose="020B0602020104020603"/>
            <a:ea typeface="+mn-ea"/>
            <a:cs typeface="+mn-cs"/>
          </a:endParaRPr>
        </a:p>
        <a:p>
          <a:pPr marL="228600" lvl="1" indent="-228600" algn="l" defTabSz="889000">
            <a:lnSpc>
              <a:spcPct val="90000"/>
            </a:lnSpc>
            <a:spcBef>
              <a:spcPct val="0"/>
            </a:spcBef>
            <a:spcAft>
              <a:spcPct val="15000"/>
            </a:spcAft>
            <a:buChar char="•"/>
          </a:pPr>
          <a:r>
            <a:rPr lang="en-US" sz="2000" kern="1200" dirty="0"/>
            <a:t>TF-IDF Vectorization- </a:t>
          </a:r>
          <a:r>
            <a:rPr lang="en-US" sz="2000" b="1" i="0" kern="1200" dirty="0"/>
            <a:t>Term Frequency – Inverse Document Frequency</a:t>
          </a:r>
          <a:endParaRPr lang="en-IN" sz="2000" kern="1200" dirty="0"/>
        </a:p>
        <a:p>
          <a:pPr marL="228600" lvl="1" indent="-228600" algn="l" defTabSz="889000">
            <a:lnSpc>
              <a:spcPct val="90000"/>
            </a:lnSpc>
            <a:spcBef>
              <a:spcPct val="0"/>
            </a:spcBef>
            <a:spcAft>
              <a:spcPct val="15000"/>
            </a:spcAft>
            <a:buChar char="•"/>
          </a:pPr>
          <a:r>
            <a:rPr lang="en-US" sz="2000" kern="1200" dirty="0"/>
            <a:t>Word Embeddings- </a:t>
          </a:r>
          <a:r>
            <a:rPr lang="en-US" sz="2000" b="1" kern="1200" dirty="0"/>
            <a:t>Wod2Vec Neural Network Vectorizers</a:t>
          </a:r>
          <a:endParaRPr lang="en-IN" sz="2000" b="1" kern="1200" dirty="0"/>
        </a:p>
      </dsp:txBody>
      <dsp:txXfrm>
        <a:off x="0" y="4654611"/>
        <a:ext cx="10911226" cy="1389150"/>
      </dsp:txXfrm>
    </dsp:sp>
    <dsp:sp modelId="{A62E33CB-6173-459A-995A-0394FA46C02E}">
      <dsp:nvSpPr>
        <dsp:cNvPr id="0" name=""/>
        <dsp:cNvSpPr/>
      </dsp:nvSpPr>
      <dsp:spPr>
        <a:xfrm>
          <a:off x="519455" y="4257924"/>
          <a:ext cx="10389096" cy="662366"/>
        </a:xfrm>
        <a:prstGeom prst="roundRect">
          <a:avLst/>
        </a:prstGeom>
        <a:solidFill>
          <a:schemeClr val="accent4">
            <a:hueOff val="9644969"/>
            <a:satOff val="-8667"/>
            <a:lumOff val="-137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8693" tIns="0" rIns="288693" bIns="0" numCol="1" spcCol="1270" anchor="ctr" anchorCtr="0">
          <a:noAutofit/>
        </a:bodyPr>
        <a:lstStyle/>
        <a:p>
          <a:pPr marL="0" lvl="0" indent="0" algn="l" defTabSz="1066800">
            <a:lnSpc>
              <a:spcPct val="90000"/>
            </a:lnSpc>
            <a:spcBef>
              <a:spcPct val="0"/>
            </a:spcBef>
            <a:spcAft>
              <a:spcPct val="35000"/>
            </a:spcAft>
            <a:buNone/>
          </a:pPr>
          <a:r>
            <a:rPr lang="en-US" sz="2400" kern="1200" dirty="0"/>
            <a:t>Text Vectorization: Process of </a:t>
          </a:r>
          <a:r>
            <a:rPr lang="en-US" sz="2400" b="0" i="0" kern="1200" dirty="0"/>
            <a:t>converting textual data into numerical representation of features</a:t>
          </a:r>
          <a:endParaRPr lang="en-IN" sz="2400" kern="1200" dirty="0"/>
        </a:p>
      </dsp:txBody>
      <dsp:txXfrm>
        <a:off x="551789" y="4290258"/>
        <a:ext cx="10324428" cy="59769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BA0E1-AD3F-495B-ABC5-8DA062E4BF31}">
      <dsp:nvSpPr>
        <dsp:cNvPr id="0" name=""/>
        <dsp:cNvSpPr/>
      </dsp:nvSpPr>
      <dsp:spPr>
        <a:xfrm>
          <a:off x="0" y="76062"/>
          <a:ext cx="3388467" cy="61600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IN" sz="2700" kern="1200" dirty="0"/>
            <a:t>CBOW Model</a:t>
          </a:r>
        </a:p>
      </dsp:txBody>
      <dsp:txXfrm>
        <a:off x="30071" y="106133"/>
        <a:ext cx="3328325" cy="555862"/>
      </dsp:txXfrm>
    </dsp:sp>
    <dsp:sp modelId="{5738B68B-E43A-4FFE-99D1-EDA2C5D0428D}">
      <dsp:nvSpPr>
        <dsp:cNvPr id="0" name=""/>
        <dsp:cNvSpPr/>
      </dsp:nvSpPr>
      <dsp:spPr>
        <a:xfrm>
          <a:off x="0" y="655555"/>
          <a:ext cx="3388467"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58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IN" sz="2100" kern="1200" dirty="0"/>
            <a:t>NN predict the target word from the context words</a:t>
          </a:r>
        </a:p>
      </dsp:txBody>
      <dsp:txXfrm>
        <a:off x="0" y="655555"/>
        <a:ext cx="3388467" cy="894240"/>
      </dsp:txXfrm>
    </dsp:sp>
    <dsp:sp modelId="{3D4C3996-B8FC-4C86-AACC-667F2B5F3AA4}">
      <dsp:nvSpPr>
        <dsp:cNvPr id="0" name=""/>
        <dsp:cNvSpPr/>
      </dsp:nvSpPr>
      <dsp:spPr>
        <a:xfrm>
          <a:off x="0" y="1549796"/>
          <a:ext cx="3388467" cy="61600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IN" sz="2700" kern="1200" dirty="0"/>
            <a:t>Skip gram</a:t>
          </a:r>
        </a:p>
      </dsp:txBody>
      <dsp:txXfrm>
        <a:off x="30071" y="1579867"/>
        <a:ext cx="3328325" cy="555862"/>
      </dsp:txXfrm>
    </dsp:sp>
    <dsp:sp modelId="{43217126-2D5E-40BA-9808-29E67E10D41A}">
      <dsp:nvSpPr>
        <dsp:cNvPr id="0" name=""/>
        <dsp:cNvSpPr/>
      </dsp:nvSpPr>
      <dsp:spPr>
        <a:xfrm>
          <a:off x="0" y="2165801"/>
          <a:ext cx="3388467"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58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IN" sz="2100" kern="1200" dirty="0"/>
            <a:t>NN predicts the context word from the given target word</a:t>
          </a:r>
        </a:p>
      </dsp:txBody>
      <dsp:txXfrm>
        <a:off x="0" y="2165801"/>
        <a:ext cx="3388467" cy="8942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3FB346-DA2B-48CE-966B-9DFCD8A4D313}">
      <dsp:nvSpPr>
        <dsp:cNvPr id="0" name=""/>
        <dsp:cNvSpPr/>
      </dsp:nvSpPr>
      <dsp:spPr>
        <a:xfrm>
          <a:off x="-691287" y="3155"/>
          <a:ext cx="11430000" cy="4975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62E97C9-F168-4A66-A1B3-0F6FD9435932}">
      <dsp:nvSpPr>
        <dsp:cNvPr id="0" name=""/>
        <dsp:cNvSpPr/>
      </dsp:nvSpPr>
      <dsp:spPr>
        <a:xfrm>
          <a:off x="-540773" y="115108"/>
          <a:ext cx="273661" cy="27366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1BEFA2-BBB2-4E81-AF35-A16BAE171445}">
      <dsp:nvSpPr>
        <dsp:cNvPr id="0" name=""/>
        <dsp:cNvSpPr/>
      </dsp:nvSpPr>
      <dsp:spPr>
        <a:xfrm>
          <a:off x="-116597" y="3155"/>
          <a:ext cx="5143500"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IN" sz="1800" b="1" kern="1200"/>
            <a:t>Dictionary based NER</a:t>
          </a:r>
          <a:endParaRPr lang="en-IN" sz="1800" b="1" kern="1200" dirty="0"/>
        </a:p>
      </dsp:txBody>
      <dsp:txXfrm>
        <a:off x="-116597" y="3155"/>
        <a:ext cx="5143500" cy="497566"/>
      </dsp:txXfrm>
    </dsp:sp>
    <dsp:sp modelId="{90B660AC-CA65-4398-9C68-075132E1CEBD}">
      <dsp:nvSpPr>
        <dsp:cNvPr id="0" name=""/>
        <dsp:cNvSpPr/>
      </dsp:nvSpPr>
      <dsp:spPr>
        <a:xfrm>
          <a:off x="4010000" y="3155"/>
          <a:ext cx="7744489"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IN" sz="1800" b="1" kern="1200"/>
            <a:t>Maintains and updates a dictionary</a:t>
          </a:r>
          <a:endParaRPr lang="en-IN" sz="1800" b="1" kern="1200" dirty="0"/>
        </a:p>
        <a:p>
          <a:pPr marL="0" lvl="0" indent="0" algn="l" defTabSz="800100">
            <a:lnSpc>
              <a:spcPct val="100000"/>
            </a:lnSpc>
            <a:spcBef>
              <a:spcPct val="0"/>
            </a:spcBef>
            <a:spcAft>
              <a:spcPct val="35000"/>
            </a:spcAft>
            <a:buNone/>
          </a:pPr>
          <a:r>
            <a:rPr lang="en-IN" sz="1800" b="1" i="0" kern="1200"/>
            <a:t>string matching algorithms are used to detect entities</a:t>
          </a:r>
          <a:endParaRPr lang="en-IN" sz="1800" b="1" kern="1200" dirty="0"/>
        </a:p>
      </dsp:txBody>
      <dsp:txXfrm>
        <a:off x="4010000" y="3155"/>
        <a:ext cx="7744489" cy="497566"/>
      </dsp:txXfrm>
    </dsp:sp>
    <dsp:sp modelId="{92690F0C-B4B5-4F7C-8172-39DB8C0F776C}">
      <dsp:nvSpPr>
        <dsp:cNvPr id="0" name=""/>
        <dsp:cNvSpPr/>
      </dsp:nvSpPr>
      <dsp:spPr>
        <a:xfrm>
          <a:off x="-691287" y="625114"/>
          <a:ext cx="11430000" cy="497566"/>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1733C54-DB71-40C0-9BEE-6893207A10D3}">
      <dsp:nvSpPr>
        <dsp:cNvPr id="0" name=""/>
        <dsp:cNvSpPr/>
      </dsp:nvSpPr>
      <dsp:spPr>
        <a:xfrm>
          <a:off x="-540773" y="737067"/>
          <a:ext cx="273661" cy="27366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50A0DF-7D0B-4F47-ACE9-58836197FC3B}">
      <dsp:nvSpPr>
        <dsp:cNvPr id="0" name=""/>
        <dsp:cNvSpPr/>
      </dsp:nvSpPr>
      <dsp:spPr>
        <a:xfrm>
          <a:off x="-116597" y="625114"/>
          <a:ext cx="5143500"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IN" sz="1800" b="1" kern="1200"/>
            <a:t>Rule based NER </a:t>
          </a:r>
          <a:endParaRPr lang="en-IN" sz="1800" b="1" kern="1200" dirty="0"/>
        </a:p>
      </dsp:txBody>
      <dsp:txXfrm>
        <a:off x="-116597" y="625114"/>
        <a:ext cx="5143500" cy="497566"/>
      </dsp:txXfrm>
    </dsp:sp>
    <dsp:sp modelId="{9F860C2A-F00B-48F9-A9C9-40C66F4DAF60}">
      <dsp:nvSpPr>
        <dsp:cNvPr id="0" name=""/>
        <dsp:cNvSpPr/>
      </dsp:nvSpPr>
      <dsp:spPr>
        <a:xfrm>
          <a:off x="3643202" y="625114"/>
          <a:ext cx="8478084"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US" sz="1800" b="1" i="0" kern="1200"/>
            <a:t>Morphological rules are used to extract the entities.</a:t>
          </a:r>
          <a:endParaRPr lang="en-IN" sz="1800" b="1" kern="1200" dirty="0"/>
        </a:p>
      </dsp:txBody>
      <dsp:txXfrm>
        <a:off x="3643202" y="625114"/>
        <a:ext cx="8478084" cy="497566"/>
      </dsp:txXfrm>
    </dsp:sp>
    <dsp:sp modelId="{2408F5F6-DCFA-4953-AE35-C89D8ADD9634}">
      <dsp:nvSpPr>
        <dsp:cNvPr id="0" name=""/>
        <dsp:cNvSpPr/>
      </dsp:nvSpPr>
      <dsp:spPr>
        <a:xfrm flipV="1">
          <a:off x="-691287" y="1247073"/>
          <a:ext cx="11430000" cy="599224"/>
        </a:xfrm>
        <a:prstGeom prst="roundRect">
          <a:avLst>
            <a:gd name="adj" fmla="val 10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BE3E29-8116-4AB0-9787-FB75C7AA7D28}">
      <dsp:nvSpPr>
        <dsp:cNvPr id="0" name=""/>
        <dsp:cNvSpPr/>
      </dsp:nvSpPr>
      <dsp:spPr>
        <a:xfrm>
          <a:off x="-540773" y="1409854"/>
          <a:ext cx="273661" cy="27366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7F7342-D45B-4123-8742-2F21F984FBED}">
      <dsp:nvSpPr>
        <dsp:cNvPr id="0" name=""/>
        <dsp:cNvSpPr/>
      </dsp:nvSpPr>
      <dsp:spPr>
        <a:xfrm>
          <a:off x="-116597" y="1297902"/>
          <a:ext cx="5143500"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IN" sz="1800" b="1" kern="1200"/>
            <a:t>Machine Learning/Deep Learning Based NER</a:t>
          </a:r>
          <a:endParaRPr lang="en-IN" sz="1800" b="1" kern="1200" dirty="0"/>
        </a:p>
      </dsp:txBody>
      <dsp:txXfrm>
        <a:off x="-116597" y="1297902"/>
        <a:ext cx="5143500" cy="497566"/>
      </dsp:txXfrm>
    </dsp:sp>
    <dsp:sp modelId="{0692B704-FD52-4C1A-A5E6-F752A21FDCFB}">
      <dsp:nvSpPr>
        <dsp:cNvPr id="0" name=""/>
        <dsp:cNvSpPr/>
      </dsp:nvSpPr>
      <dsp:spPr>
        <a:xfrm>
          <a:off x="4371857" y="1297902"/>
          <a:ext cx="7020774" cy="497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659" tIns="52659" rIns="52659" bIns="52659" numCol="1" spcCol="1270" anchor="ctr" anchorCtr="0">
          <a:noAutofit/>
        </a:bodyPr>
        <a:lstStyle/>
        <a:p>
          <a:pPr marL="0" lvl="0" indent="0" algn="l" defTabSz="800100">
            <a:lnSpc>
              <a:spcPct val="100000"/>
            </a:lnSpc>
            <a:spcBef>
              <a:spcPct val="0"/>
            </a:spcBef>
            <a:spcAft>
              <a:spcPct val="35000"/>
            </a:spcAft>
            <a:buNone/>
          </a:pPr>
          <a:r>
            <a:rPr lang="en-IN" sz="1800" b="1" kern="1200"/>
            <a:t>ML/DL model trained to classify the entity tokens.</a:t>
          </a:r>
          <a:endParaRPr lang="en-IN" sz="1800" b="1" kern="1200" dirty="0"/>
        </a:p>
        <a:p>
          <a:pPr marL="0" lvl="0" indent="0" algn="l" defTabSz="800100">
            <a:lnSpc>
              <a:spcPct val="100000"/>
            </a:lnSpc>
            <a:spcBef>
              <a:spcPct val="0"/>
            </a:spcBef>
            <a:spcAft>
              <a:spcPct val="35000"/>
            </a:spcAft>
            <a:buNone/>
          </a:pPr>
          <a:r>
            <a:rPr lang="en-IN" sz="1800" b="1" kern="1200"/>
            <a:t>Training data should be annotated with entities.</a:t>
          </a:r>
          <a:endParaRPr lang="en-IN" sz="1800" b="1" kern="1200" dirty="0"/>
        </a:p>
      </dsp:txBody>
      <dsp:txXfrm>
        <a:off x="4371857" y="1297902"/>
        <a:ext cx="7020774" cy="49756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9A32F9-5D01-4791-BF18-8B2FE0353165}">
      <dsp:nvSpPr>
        <dsp:cNvPr id="0" name=""/>
        <dsp:cNvSpPr/>
      </dsp:nvSpPr>
      <dsp:spPr>
        <a:xfrm>
          <a:off x="5776" y="19628"/>
          <a:ext cx="5256982" cy="489600"/>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N" sz="1700" b="1" i="0" kern="1200" dirty="0"/>
            <a:t>BIO SCHEME</a:t>
          </a:r>
          <a:endParaRPr lang="en-IN" sz="1700" kern="1200" dirty="0"/>
        </a:p>
      </dsp:txBody>
      <dsp:txXfrm>
        <a:off x="5776" y="19628"/>
        <a:ext cx="5256982" cy="489600"/>
      </dsp:txXfrm>
    </dsp:sp>
    <dsp:sp modelId="{BAE88247-5A5C-4FC4-BD09-15D1D1B7BBD7}">
      <dsp:nvSpPr>
        <dsp:cNvPr id="0" name=""/>
        <dsp:cNvSpPr/>
      </dsp:nvSpPr>
      <dsp:spPr>
        <a:xfrm>
          <a:off x="5776" y="509228"/>
          <a:ext cx="5256982" cy="3109287"/>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IN" sz="2000" b="0" i="0" kern="1200" dirty="0"/>
            <a:t>I – Token is </a:t>
          </a:r>
          <a:r>
            <a:rPr lang="en-IN" sz="2000" b="1" i="0" kern="1200" dirty="0"/>
            <a:t>inside</a:t>
          </a:r>
          <a:r>
            <a:rPr lang="en-IN" sz="2000" b="0" i="0" kern="1200" dirty="0"/>
            <a:t> an entity.</a:t>
          </a:r>
          <a:endParaRPr lang="en-IN"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b="0" i="0" kern="1200" dirty="0"/>
            <a:t>O – Token is </a:t>
          </a:r>
          <a:r>
            <a:rPr lang="en-US" sz="2000" b="1" i="0" kern="1200" dirty="0"/>
            <a:t>outside</a:t>
          </a:r>
          <a:r>
            <a:rPr lang="en-US" sz="2000" b="0" i="0" kern="1200" dirty="0"/>
            <a:t> an entity.</a:t>
          </a:r>
        </a:p>
        <a:p>
          <a:pPr marL="228600" lvl="1" indent="-228600" algn="l" defTabSz="889000">
            <a:lnSpc>
              <a:spcPct val="90000"/>
            </a:lnSpc>
            <a:spcBef>
              <a:spcPct val="0"/>
            </a:spcBef>
            <a:spcAft>
              <a:spcPct val="15000"/>
            </a:spcAft>
            <a:buFont typeface="Arial" panose="020B0604020202020204" pitchFamily="34" charset="0"/>
            <a:buChar char="•"/>
          </a:pPr>
          <a:r>
            <a:rPr lang="en-US" sz="2000" b="0" i="0" kern="1200" dirty="0"/>
            <a:t>B – Token is the </a:t>
          </a:r>
          <a:r>
            <a:rPr lang="en-US" sz="2000" b="1" i="0" kern="1200" dirty="0"/>
            <a:t>beginning</a:t>
          </a:r>
          <a:r>
            <a:rPr lang="en-US" sz="2000" b="0" i="0" kern="1200" dirty="0"/>
            <a:t> of an entity.</a:t>
          </a:r>
        </a:p>
        <a:p>
          <a:pPr marL="228600" lvl="1" indent="-228600" algn="l" defTabSz="889000">
            <a:lnSpc>
              <a:spcPct val="90000"/>
            </a:lnSpc>
            <a:spcBef>
              <a:spcPct val="0"/>
            </a:spcBef>
            <a:spcAft>
              <a:spcPct val="15000"/>
            </a:spcAft>
            <a:buChar char="•"/>
          </a:pPr>
          <a:r>
            <a:rPr lang="en-IN" sz="2000" kern="1200" dirty="0"/>
            <a:t>Uma Maheswari Tamilvendhan is from south </a:t>
          </a:r>
          <a:r>
            <a:rPr lang="en-IN" sz="2000" kern="1200" dirty="0" err="1"/>
            <a:t>india</a:t>
          </a:r>
          <a:r>
            <a:rPr lang="en-IN" sz="2000" kern="1200" dirty="0"/>
            <a:t> state </a:t>
          </a:r>
          <a:r>
            <a:rPr lang="en-IN" sz="2000" kern="1200" dirty="0" err="1"/>
            <a:t>Tamilnadu</a:t>
          </a:r>
          <a:endParaRPr lang="en-IN" sz="2000" kern="1200" dirty="0"/>
        </a:p>
        <a:p>
          <a:pPr marL="228600" lvl="1" indent="-228600" algn="l" defTabSz="889000">
            <a:lnSpc>
              <a:spcPct val="90000"/>
            </a:lnSpc>
            <a:spcBef>
              <a:spcPct val="0"/>
            </a:spcBef>
            <a:spcAft>
              <a:spcPct val="15000"/>
            </a:spcAft>
            <a:buChar char="•"/>
          </a:pPr>
          <a:r>
            <a:rPr lang="en-IN" sz="2000" kern="1200" dirty="0"/>
            <a:t>Uma- B- Person Maheswari – I-Person Tamilvendhan-I-Person</a:t>
          </a:r>
        </a:p>
        <a:p>
          <a:pPr marL="228600" lvl="1" indent="-228600" algn="l" defTabSz="889000">
            <a:lnSpc>
              <a:spcPct val="90000"/>
            </a:lnSpc>
            <a:spcBef>
              <a:spcPct val="0"/>
            </a:spcBef>
            <a:spcAft>
              <a:spcPct val="15000"/>
            </a:spcAft>
            <a:buChar char="•"/>
          </a:pPr>
          <a:r>
            <a:rPr lang="en-IN" sz="2000" kern="1200" dirty="0"/>
            <a:t>Is-O from-O</a:t>
          </a:r>
        </a:p>
        <a:p>
          <a:pPr marL="228600" lvl="1" indent="-228600" algn="l" defTabSz="889000">
            <a:lnSpc>
              <a:spcPct val="90000"/>
            </a:lnSpc>
            <a:spcBef>
              <a:spcPct val="0"/>
            </a:spcBef>
            <a:spcAft>
              <a:spcPct val="15000"/>
            </a:spcAft>
            <a:buChar char="•"/>
          </a:pPr>
          <a:r>
            <a:rPr lang="en-IN" sz="2000" kern="1200" dirty="0"/>
            <a:t>South –B GPE India- I GPE </a:t>
          </a:r>
          <a:r>
            <a:rPr lang="en-IN" sz="2000" kern="1200" dirty="0" err="1"/>
            <a:t>Tamilnadu</a:t>
          </a:r>
          <a:r>
            <a:rPr lang="en-IN" sz="2000" kern="1200" dirty="0"/>
            <a:t>- B GPE</a:t>
          </a:r>
        </a:p>
      </dsp:txBody>
      <dsp:txXfrm>
        <a:off x="5776" y="509228"/>
        <a:ext cx="5256982" cy="3109287"/>
      </dsp:txXfrm>
    </dsp:sp>
    <dsp:sp modelId="{AA982CA6-9DA3-4556-971F-3367434D07BB}">
      <dsp:nvSpPr>
        <dsp:cNvPr id="0" name=""/>
        <dsp:cNvSpPr/>
      </dsp:nvSpPr>
      <dsp:spPr>
        <a:xfrm>
          <a:off x="5998737" y="19628"/>
          <a:ext cx="6038328" cy="489600"/>
        </a:xfrm>
        <a:prstGeom prst="rect">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IN" sz="1700" b="1" kern="1200" dirty="0"/>
            <a:t>BILOU </a:t>
          </a:r>
          <a:r>
            <a:rPr lang="en-IN" sz="1700" b="1" i="0" kern="1200" dirty="0"/>
            <a:t>SCHEME</a:t>
          </a:r>
          <a:endParaRPr lang="en-IN" sz="1700" b="1" kern="1200" dirty="0"/>
        </a:p>
      </dsp:txBody>
      <dsp:txXfrm>
        <a:off x="5998737" y="19628"/>
        <a:ext cx="6038328" cy="489600"/>
      </dsp:txXfrm>
    </dsp:sp>
    <dsp:sp modelId="{EB879766-AFAF-455A-B404-810805A95B19}">
      <dsp:nvSpPr>
        <dsp:cNvPr id="0" name=""/>
        <dsp:cNvSpPr/>
      </dsp:nvSpPr>
      <dsp:spPr>
        <a:xfrm>
          <a:off x="6000209" y="509228"/>
          <a:ext cx="6035384" cy="3109287"/>
        </a:xfrm>
        <a:prstGeom prst="rect">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B – Token is the </a:t>
          </a:r>
          <a:r>
            <a:rPr lang="en-US" sz="1700" b="1" i="0" kern="1200" dirty="0"/>
            <a:t>beginning</a:t>
          </a:r>
          <a:r>
            <a:rPr lang="en-US" sz="1700" b="0" i="0" kern="1200" dirty="0"/>
            <a:t> of a multi-token entity.</a:t>
          </a:r>
          <a:endParaRPr lang="en-IN" sz="1700" kern="1200" dirty="0"/>
        </a:p>
        <a:p>
          <a:pPr marL="171450" lvl="1" indent="-171450" algn="l" defTabSz="755650">
            <a:lnSpc>
              <a:spcPct val="90000"/>
            </a:lnSpc>
            <a:spcBef>
              <a:spcPct val="0"/>
            </a:spcBef>
            <a:spcAft>
              <a:spcPct val="15000"/>
            </a:spcAft>
            <a:buFont typeface="Arial" panose="020B0604020202020204" pitchFamily="34" charset="0"/>
            <a:buChar char="•"/>
          </a:pPr>
          <a:r>
            <a:rPr lang="en-IN" sz="1700" b="0" i="0" kern="1200" dirty="0"/>
            <a:t>I – Token is </a:t>
          </a:r>
          <a:r>
            <a:rPr lang="en-IN" sz="1700" b="1" i="0" kern="1200" dirty="0"/>
            <a:t>inside</a:t>
          </a:r>
          <a:r>
            <a:rPr lang="en-IN" sz="1700" b="0" i="0" kern="1200" dirty="0"/>
            <a:t> a multi-token entity.</a:t>
          </a:r>
        </a:p>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L – Token is the </a:t>
          </a:r>
          <a:r>
            <a:rPr lang="en-US" sz="1700" b="1" i="0" kern="1200" dirty="0"/>
            <a:t>last</a:t>
          </a:r>
          <a:r>
            <a:rPr lang="en-US" sz="1700" b="0" i="0" kern="1200" dirty="0"/>
            <a:t> token of a multi-token entity.</a:t>
          </a:r>
        </a:p>
        <a:p>
          <a:pPr marL="171450" lvl="1" indent="-171450" algn="l" defTabSz="755650">
            <a:lnSpc>
              <a:spcPct val="90000"/>
            </a:lnSpc>
            <a:spcBef>
              <a:spcPct val="0"/>
            </a:spcBef>
            <a:spcAft>
              <a:spcPct val="15000"/>
            </a:spcAft>
            <a:buFont typeface="Arial" panose="020B0604020202020204" pitchFamily="34" charset="0"/>
            <a:buChar char="•"/>
          </a:pPr>
          <a:r>
            <a:rPr lang="en-IN" sz="1700" b="0" i="0" kern="1200" dirty="0"/>
            <a:t>U – Token is a single-token </a:t>
          </a:r>
          <a:r>
            <a:rPr lang="en-IN" sz="1700" b="1" i="0" kern="1200" dirty="0"/>
            <a:t>unit</a:t>
          </a:r>
          <a:r>
            <a:rPr lang="en-IN" sz="1700" b="0" i="0" kern="1200" dirty="0"/>
            <a:t> entity.</a:t>
          </a:r>
        </a:p>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O – Token is </a:t>
          </a:r>
          <a:r>
            <a:rPr lang="en-US" sz="1700" b="1" i="0" kern="1200" dirty="0"/>
            <a:t>outside</a:t>
          </a:r>
          <a:r>
            <a:rPr lang="en-US" sz="1700" b="0" i="0" kern="1200" dirty="0"/>
            <a:t> an entity.</a:t>
          </a:r>
        </a:p>
        <a:p>
          <a:pPr marL="171450" lvl="1" indent="-171450" algn="l" defTabSz="755650">
            <a:lnSpc>
              <a:spcPct val="90000"/>
            </a:lnSpc>
            <a:spcBef>
              <a:spcPct val="0"/>
            </a:spcBef>
            <a:spcAft>
              <a:spcPct val="15000"/>
            </a:spcAft>
            <a:buChar char="•"/>
          </a:pPr>
          <a:r>
            <a:rPr lang="en-IN" sz="1700" kern="1200" dirty="0"/>
            <a:t>Uma Maheswari Tamilvendhan is from south India state </a:t>
          </a:r>
          <a:r>
            <a:rPr lang="en-IN" sz="1700" kern="1200" dirty="0" err="1"/>
            <a:t>Tamilnadu</a:t>
          </a:r>
          <a:endParaRPr lang="en-IN" sz="1700" kern="1200" dirty="0"/>
        </a:p>
        <a:p>
          <a:pPr marL="171450" lvl="1" indent="-171450" algn="l" defTabSz="755650">
            <a:lnSpc>
              <a:spcPct val="90000"/>
            </a:lnSpc>
            <a:spcBef>
              <a:spcPct val="0"/>
            </a:spcBef>
            <a:spcAft>
              <a:spcPct val="15000"/>
            </a:spcAft>
            <a:buChar char="•"/>
          </a:pPr>
          <a:r>
            <a:rPr lang="en-IN" sz="1700" kern="1200" dirty="0"/>
            <a:t>Uma- B- Person Maheswari – I-Person Tamilvendhan-L-Person Is-O from-O State-0</a:t>
          </a:r>
          <a:endParaRPr lang="en-IN" sz="1700" b="1" kern="1200" dirty="0"/>
        </a:p>
        <a:p>
          <a:pPr marL="171450" lvl="1" indent="-171450" algn="l" defTabSz="755650">
            <a:lnSpc>
              <a:spcPct val="90000"/>
            </a:lnSpc>
            <a:spcBef>
              <a:spcPct val="0"/>
            </a:spcBef>
            <a:spcAft>
              <a:spcPct val="15000"/>
            </a:spcAft>
            <a:buChar char="•"/>
          </a:pPr>
          <a:r>
            <a:rPr lang="en-IN" sz="1700" kern="1200" dirty="0"/>
            <a:t>South –B GPE India- I GPE </a:t>
          </a:r>
          <a:r>
            <a:rPr lang="en-IN" sz="1700" kern="1200" dirty="0" err="1"/>
            <a:t>Tamilnadu</a:t>
          </a:r>
          <a:r>
            <a:rPr lang="en-IN" sz="1700" kern="1200" dirty="0"/>
            <a:t>- U GPE</a:t>
          </a:r>
        </a:p>
      </dsp:txBody>
      <dsp:txXfrm>
        <a:off x="6000209" y="509228"/>
        <a:ext cx="6035384" cy="31092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2BF68-9887-48DE-B715-A87733085020}">
      <dsp:nvSpPr>
        <dsp:cNvPr id="0" name=""/>
        <dsp:cNvSpPr/>
      </dsp:nvSpPr>
      <dsp:spPr>
        <a:xfrm>
          <a:off x="5477090" y="313"/>
          <a:ext cx="778464" cy="778464"/>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E9E077-8350-42A5-9EA4-7AD944F33B76}">
      <dsp:nvSpPr>
        <dsp:cNvPr id="0" name=""/>
        <dsp:cNvSpPr/>
      </dsp:nvSpPr>
      <dsp:spPr>
        <a:xfrm>
          <a:off x="5642992" y="166215"/>
          <a:ext cx="446660" cy="4466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93C810-B3EC-4EE4-A424-E79B2BB4048E}">
      <dsp:nvSpPr>
        <dsp:cNvPr id="0" name=""/>
        <dsp:cNvSpPr/>
      </dsp:nvSpPr>
      <dsp:spPr>
        <a:xfrm>
          <a:off x="3512341" y="849074"/>
          <a:ext cx="4707963" cy="5104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100000"/>
            </a:lnSpc>
            <a:spcBef>
              <a:spcPct val="0"/>
            </a:spcBef>
            <a:spcAft>
              <a:spcPct val="35000"/>
            </a:spcAft>
            <a:buNone/>
            <a:defRPr cap="all"/>
          </a:pPr>
          <a:r>
            <a:rPr lang="en-IN" sz="1300" kern="1200" dirty="0"/>
            <a:t>NLP is a field of study that deals with </a:t>
          </a:r>
          <a:r>
            <a:rPr lang="en-US" sz="1300" kern="1200" dirty="0"/>
            <a:t>interactions between computers  and human languages</a:t>
          </a:r>
        </a:p>
      </dsp:txBody>
      <dsp:txXfrm>
        <a:off x="3512341" y="849074"/>
        <a:ext cx="4707963" cy="5104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2325F-7682-451E-9AA8-D7065790C2AE}">
      <dsp:nvSpPr>
        <dsp:cNvPr id="0" name=""/>
        <dsp:cNvSpPr/>
      </dsp:nvSpPr>
      <dsp:spPr>
        <a:xfrm>
          <a:off x="486363" y="1164"/>
          <a:ext cx="1843537" cy="110612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Brand Monitoring in Marketing</a:t>
          </a:r>
        </a:p>
      </dsp:txBody>
      <dsp:txXfrm>
        <a:off x="486363" y="1164"/>
        <a:ext cx="1843537" cy="1106122"/>
      </dsp:txXfrm>
    </dsp:sp>
    <dsp:sp modelId="{A1A59BB2-84A6-475C-B88B-5E6BCE273759}">
      <dsp:nvSpPr>
        <dsp:cNvPr id="0" name=""/>
        <dsp:cNvSpPr/>
      </dsp:nvSpPr>
      <dsp:spPr>
        <a:xfrm>
          <a:off x="2514254" y="1164"/>
          <a:ext cx="1843537" cy="1106122"/>
        </a:xfrm>
        <a:prstGeom prst="rect">
          <a:avLst/>
        </a:prstGeom>
        <a:solidFill>
          <a:schemeClr val="accent2">
            <a:hueOff val="390127"/>
            <a:satOff val="-487"/>
            <a:lumOff val="1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Intelligent Document processing</a:t>
          </a:r>
        </a:p>
      </dsp:txBody>
      <dsp:txXfrm>
        <a:off x="2514254" y="1164"/>
        <a:ext cx="1843537" cy="1106122"/>
      </dsp:txXfrm>
    </dsp:sp>
    <dsp:sp modelId="{993F04BC-C99F-44D4-A211-A80F7802B019}">
      <dsp:nvSpPr>
        <dsp:cNvPr id="0" name=""/>
        <dsp:cNvSpPr/>
      </dsp:nvSpPr>
      <dsp:spPr>
        <a:xfrm>
          <a:off x="4542145" y="1164"/>
          <a:ext cx="1843537" cy="1106122"/>
        </a:xfrm>
        <a:prstGeom prst="rect">
          <a:avLst/>
        </a:prstGeom>
        <a:solidFill>
          <a:schemeClr val="accent2">
            <a:hueOff val="780253"/>
            <a:satOff val="-973"/>
            <a:lumOff val="2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linical Text Mining in Healthcare</a:t>
          </a:r>
        </a:p>
      </dsp:txBody>
      <dsp:txXfrm>
        <a:off x="4542145" y="1164"/>
        <a:ext cx="1843537" cy="1106122"/>
      </dsp:txXfrm>
    </dsp:sp>
    <dsp:sp modelId="{73EBBD00-C070-4AA5-84A7-4800CE43C549}">
      <dsp:nvSpPr>
        <dsp:cNvPr id="0" name=""/>
        <dsp:cNvSpPr/>
      </dsp:nvSpPr>
      <dsp:spPr>
        <a:xfrm>
          <a:off x="6570037" y="1164"/>
          <a:ext cx="1843537" cy="1106122"/>
        </a:xfrm>
        <a:prstGeom prst="rect">
          <a:avLst/>
        </a:prstGeom>
        <a:solidFill>
          <a:schemeClr val="accent2">
            <a:hueOff val="1170380"/>
            <a:satOff val="-1460"/>
            <a:lumOff val="3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raud Detection and Security in Insurance Domain</a:t>
          </a:r>
        </a:p>
      </dsp:txBody>
      <dsp:txXfrm>
        <a:off x="6570037" y="1164"/>
        <a:ext cx="1843537" cy="1106122"/>
      </dsp:txXfrm>
    </dsp:sp>
    <dsp:sp modelId="{12A87FCF-3EFA-4A3D-8177-5E3181CD853A}">
      <dsp:nvSpPr>
        <dsp:cNvPr id="0" name=""/>
        <dsp:cNvSpPr/>
      </dsp:nvSpPr>
      <dsp:spPr>
        <a:xfrm>
          <a:off x="8597928" y="1164"/>
          <a:ext cx="1843537" cy="1106122"/>
        </a:xfrm>
        <a:prstGeom prst="rect">
          <a:avLst/>
        </a:prstGeom>
        <a:solidFill>
          <a:schemeClr val="accent2">
            <a:hueOff val="1560506"/>
            <a:satOff val="-194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cruitment and HR Analytics</a:t>
          </a:r>
        </a:p>
      </dsp:txBody>
      <dsp:txXfrm>
        <a:off x="8597928" y="1164"/>
        <a:ext cx="1843537" cy="1106122"/>
      </dsp:txXfrm>
    </dsp:sp>
    <dsp:sp modelId="{9442E7FB-E38A-4FEB-AFA8-F360052405EA}">
      <dsp:nvSpPr>
        <dsp:cNvPr id="0" name=""/>
        <dsp:cNvSpPr/>
      </dsp:nvSpPr>
      <dsp:spPr>
        <a:xfrm>
          <a:off x="486363" y="1291641"/>
          <a:ext cx="1843537" cy="1106122"/>
        </a:xfrm>
        <a:prstGeom prst="rect">
          <a:avLst/>
        </a:prstGeom>
        <a:solidFill>
          <a:schemeClr val="accent2">
            <a:hueOff val="1950633"/>
            <a:satOff val="-2433"/>
            <a:lumOff val="5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Legal Contract Analysis and Automation</a:t>
          </a:r>
        </a:p>
      </dsp:txBody>
      <dsp:txXfrm>
        <a:off x="486363" y="1291641"/>
        <a:ext cx="1843537" cy="1106122"/>
      </dsp:txXfrm>
    </dsp:sp>
    <dsp:sp modelId="{314F68B6-DA72-45E1-A2D5-FB0BF65D6D4A}">
      <dsp:nvSpPr>
        <dsp:cNvPr id="0" name=""/>
        <dsp:cNvSpPr/>
      </dsp:nvSpPr>
      <dsp:spPr>
        <a:xfrm>
          <a:off x="2514254" y="1291641"/>
          <a:ext cx="1843537" cy="1106122"/>
        </a:xfrm>
        <a:prstGeom prst="rect">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Underwriting and risk assessment in Banking</a:t>
          </a:r>
        </a:p>
      </dsp:txBody>
      <dsp:txXfrm>
        <a:off x="2514254" y="1291641"/>
        <a:ext cx="1843537" cy="1106122"/>
      </dsp:txXfrm>
    </dsp:sp>
    <dsp:sp modelId="{4EDB3646-A872-47F1-8ABF-4116D7E088AB}">
      <dsp:nvSpPr>
        <dsp:cNvPr id="0" name=""/>
        <dsp:cNvSpPr/>
      </dsp:nvSpPr>
      <dsp:spPr>
        <a:xfrm>
          <a:off x="4542145" y="1291641"/>
          <a:ext cx="1843537" cy="1106122"/>
        </a:xfrm>
        <a:prstGeom prst="rect">
          <a:avLst/>
        </a:prstGeom>
        <a:solidFill>
          <a:schemeClr val="accent2">
            <a:hueOff val="2730886"/>
            <a:satOff val="-3406"/>
            <a:lumOff val="8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ustomer Engagement and Energy Conservation</a:t>
          </a:r>
        </a:p>
      </dsp:txBody>
      <dsp:txXfrm>
        <a:off x="4542145" y="1291641"/>
        <a:ext cx="1843537" cy="1106122"/>
      </dsp:txXfrm>
    </dsp:sp>
    <dsp:sp modelId="{0EB61502-8F40-4808-9DBF-D316D9C57CA5}">
      <dsp:nvSpPr>
        <dsp:cNvPr id="0" name=""/>
        <dsp:cNvSpPr/>
      </dsp:nvSpPr>
      <dsp:spPr>
        <a:xfrm>
          <a:off x="6570037" y="1291641"/>
          <a:ext cx="1843537" cy="1106122"/>
        </a:xfrm>
        <a:prstGeom prst="rect">
          <a:avLst/>
        </a:prstGeom>
        <a:solidFill>
          <a:schemeClr val="accent2">
            <a:hueOff val="3121013"/>
            <a:satOff val="-3893"/>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port Mining in Oil and gas</a:t>
          </a:r>
        </a:p>
      </dsp:txBody>
      <dsp:txXfrm>
        <a:off x="6570037" y="1291641"/>
        <a:ext cx="1843537" cy="1106122"/>
      </dsp:txXfrm>
    </dsp:sp>
    <dsp:sp modelId="{52BE331F-01CB-484E-A338-10858639ACB3}">
      <dsp:nvSpPr>
        <dsp:cNvPr id="0" name=""/>
        <dsp:cNvSpPr/>
      </dsp:nvSpPr>
      <dsp:spPr>
        <a:xfrm>
          <a:off x="8597928" y="1291641"/>
          <a:ext cx="1843537" cy="1106122"/>
        </a:xfrm>
        <a:prstGeom prst="rect">
          <a:avLst/>
        </a:prstGeom>
        <a:solidFill>
          <a:schemeClr val="accent2">
            <a:hueOff val="3511139"/>
            <a:satOff val="-4379"/>
            <a:lumOff val="10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liability reporting </a:t>
          </a:r>
        </a:p>
      </dsp:txBody>
      <dsp:txXfrm>
        <a:off x="8597928" y="1291641"/>
        <a:ext cx="1843537" cy="1106122"/>
      </dsp:txXfrm>
    </dsp:sp>
    <dsp:sp modelId="{C6C86094-97CE-4BDB-A898-9D09630AA1B2}">
      <dsp:nvSpPr>
        <dsp:cNvPr id="0" name=""/>
        <dsp:cNvSpPr/>
      </dsp:nvSpPr>
      <dsp:spPr>
        <a:xfrm>
          <a:off x="2514254" y="2582117"/>
          <a:ext cx="1843537" cy="1106122"/>
        </a:xfrm>
        <a:prstGeom prst="rect">
          <a:avLst/>
        </a:prstGeom>
        <a:solidFill>
          <a:schemeClr val="accent2">
            <a:hueOff val="3901266"/>
            <a:satOff val="-4866"/>
            <a:lumOff val="11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hatbots and Virtual Assistants</a:t>
          </a:r>
        </a:p>
      </dsp:txBody>
      <dsp:txXfrm>
        <a:off x="2514254" y="2582117"/>
        <a:ext cx="1843537" cy="1106122"/>
      </dsp:txXfrm>
    </dsp:sp>
    <dsp:sp modelId="{1FAB1CD9-4B83-4584-A19B-BB93FC7F2AAA}">
      <dsp:nvSpPr>
        <dsp:cNvPr id="0" name=""/>
        <dsp:cNvSpPr/>
      </dsp:nvSpPr>
      <dsp:spPr>
        <a:xfrm>
          <a:off x="4542145" y="2582117"/>
          <a:ext cx="1843537" cy="1106122"/>
        </a:xfrm>
        <a:prstGeom prst="rect">
          <a:avLst/>
        </a:prstGeom>
        <a:solidFill>
          <a:schemeClr val="accent2">
            <a:hueOff val="4291393"/>
            <a:satOff val="-5352"/>
            <a:lumOff val="12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0" kern="1200"/>
            <a:t>Targeted Advertising</a:t>
          </a:r>
          <a:endParaRPr lang="en-US" sz="1700" kern="1200"/>
        </a:p>
      </dsp:txBody>
      <dsp:txXfrm>
        <a:off x="4542145" y="2582117"/>
        <a:ext cx="1843537" cy="1106122"/>
      </dsp:txXfrm>
    </dsp:sp>
    <dsp:sp modelId="{DD438267-F6A6-449D-8040-AFBFF6248B31}">
      <dsp:nvSpPr>
        <dsp:cNvPr id="0" name=""/>
        <dsp:cNvSpPr/>
      </dsp:nvSpPr>
      <dsp:spPr>
        <a:xfrm>
          <a:off x="6570037" y="2582117"/>
          <a:ext cx="1843537" cy="1106122"/>
        </a:xfrm>
        <a:prstGeom prst="rect">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0" kern="1200"/>
            <a:t>Speech and Speaker Recognition</a:t>
          </a:r>
          <a:endParaRPr lang="en-US" sz="1700" kern="1200"/>
        </a:p>
      </dsp:txBody>
      <dsp:txXfrm>
        <a:off x="6570037" y="2582117"/>
        <a:ext cx="1843537" cy="11061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834339-E7C4-4BA0-ABC7-0A8981AD94B6}">
      <dsp:nvSpPr>
        <dsp:cNvPr id="0" name=""/>
        <dsp:cNvSpPr/>
      </dsp:nvSpPr>
      <dsp:spPr>
        <a:xfrm>
          <a:off x="0" y="689"/>
          <a:ext cx="6797675"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BE374B-BE25-4F28-8FF1-96A737B704F2}">
      <dsp:nvSpPr>
        <dsp:cNvPr id="0" name=""/>
        <dsp:cNvSpPr/>
      </dsp:nvSpPr>
      <dsp:spPr>
        <a:xfrm>
          <a:off x="0" y="689"/>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Ambiguity</a:t>
          </a:r>
          <a:endParaRPr lang="en-US" sz="3000" kern="1200"/>
        </a:p>
      </dsp:txBody>
      <dsp:txXfrm>
        <a:off x="0" y="689"/>
        <a:ext cx="6797675" cy="627614"/>
      </dsp:txXfrm>
    </dsp:sp>
    <dsp:sp modelId="{457355B9-AC72-4F23-8EBC-A147C05D7877}">
      <dsp:nvSpPr>
        <dsp:cNvPr id="0" name=""/>
        <dsp:cNvSpPr/>
      </dsp:nvSpPr>
      <dsp:spPr>
        <a:xfrm>
          <a:off x="0" y="628304"/>
          <a:ext cx="6797675" cy="0"/>
        </a:xfrm>
        <a:prstGeom prst="line">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BAA7BC-7DED-4884-AEC3-69ABEFB4B7EA}">
      <dsp:nvSpPr>
        <dsp:cNvPr id="0" name=""/>
        <dsp:cNvSpPr/>
      </dsp:nvSpPr>
      <dsp:spPr>
        <a:xfrm>
          <a:off x="0" y="628304"/>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Variability</a:t>
          </a:r>
          <a:endParaRPr lang="en-US" sz="3000" kern="1200"/>
        </a:p>
      </dsp:txBody>
      <dsp:txXfrm>
        <a:off x="0" y="628304"/>
        <a:ext cx="6797675" cy="627614"/>
      </dsp:txXfrm>
    </dsp:sp>
    <dsp:sp modelId="{AD46C614-8392-4EF1-9196-ADA649A06E48}">
      <dsp:nvSpPr>
        <dsp:cNvPr id="0" name=""/>
        <dsp:cNvSpPr/>
      </dsp:nvSpPr>
      <dsp:spPr>
        <a:xfrm>
          <a:off x="0" y="1255919"/>
          <a:ext cx="6797675" cy="0"/>
        </a:xfrm>
        <a:prstGeom prst="line">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7FFDD8-1C4C-45EC-89FE-A9AF6D830991}">
      <dsp:nvSpPr>
        <dsp:cNvPr id="0" name=""/>
        <dsp:cNvSpPr/>
      </dsp:nvSpPr>
      <dsp:spPr>
        <a:xfrm>
          <a:off x="0" y="1255919"/>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Syntax and Grammar</a:t>
          </a:r>
          <a:endParaRPr lang="en-US" sz="3000" kern="1200"/>
        </a:p>
      </dsp:txBody>
      <dsp:txXfrm>
        <a:off x="0" y="1255919"/>
        <a:ext cx="6797675" cy="627614"/>
      </dsp:txXfrm>
    </dsp:sp>
    <dsp:sp modelId="{F22872A0-4DCF-4110-A2EB-D365BE357C71}">
      <dsp:nvSpPr>
        <dsp:cNvPr id="0" name=""/>
        <dsp:cNvSpPr/>
      </dsp:nvSpPr>
      <dsp:spPr>
        <a:xfrm>
          <a:off x="0" y="1883533"/>
          <a:ext cx="6797675" cy="0"/>
        </a:xfrm>
        <a:prstGeom prst="line">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B4F805-1368-471A-81C9-27FB15B6AE5E}">
      <dsp:nvSpPr>
        <dsp:cNvPr id="0" name=""/>
        <dsp:cNvSpPr/>
      </dsp:nvSpPr>
      <dsp:spPr>
        <a:xfrm>
          <a:off x="0" y="1883533"/>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Context Dependency</a:t>
          </a:r>
          <a:endParaRPr lang="en-US" sz="3000" kern="1200"/>
        </a:p>
      </dsp:txBody>
      <dsp:txXfrm>
        <a:off x="0" y="1883533"/>
        <a:ext cx="6797675" cy="627614"/>
      </dsp:txXfrm>
    </dsp:sp>
    <dsp:sp modelId="{7DB76420-E26B-4A46-B034-37C5E4F86303}">
      <dsp:nvSpPr>
        <dsp:cNvPr id="0" name=""/>
        <dsp:cNvSpPr/>
      </dsp:nvSpPr>
      <dsp:spPr>
        <a:xfrm>
          <a:off x="0" y="2511148"/>
          <a:ext cx="6797675" cy="0"/>
        </a:xfrm>
        <a:prstGeom prst="line">
          <a:avLst/>
        </a:prstGeom>
        <a:solidFill>
          <a:schemeClr val="accent6">
            <a:hueOff val="0"/>
            <a:satOff val="0"/>
            <a:lumOff val="0"/>
            <a:alphaOff val="0"/>
          </a:schemeClr>
        </a:solidFill>
        <a:ln w="1587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606701-E4D4-4482-B2E9-69DC38CA4FC1}">
      <dsp:nvSpPr>
        <dsp:cNvPr id="0" name=""/>
        <dsp:cNvSpPr/>
      </dsp:nvSpPr>
      <dsp:spPr>
        <a:xfrm>
          <a:off x="0" y="2511148"/>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Lack of Data</a:t>
          </a:r>
          <a:endParaRPr lang="en-US" sz="3000" kern="1200"/>
        </a:p>
      </dsp:txBody>
      <dsp:txXfrm>
        <a:off x="0" y="2511148"/>
        <a:ext cx="6797675" cy="627614"/>
      </dsp:txXfrm>
    </dsp:sp>
    <dsp:sp modelId="{8BCD4B86-8D87-41EF-B3B6-D3980200938F}">
      <dsp:nvSpPr>
        <dsp:cNvPr id="0" name=""/>
        <dsp:cNvSpPr/>
      </dsp:nvSpPr>
      <dsp:spPr>
        <a:xfrm>
          <a:off x="0" y="3138763"/>
          <a:ext cx="6797675"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A86B64-52E6-47B4-8FD4-2D1560DFDF6B}">
      <dsp:nvSpPr>
        <dsp:cNvPr id="0" name=""/>
        <dsp:cNvSpPr/>
      </dsp:nvSpPr>
      <dsp:spPr>
        <a:xfrm>
          <a:off x="0" y="3138763"/>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Domain Specificity</a:t>
          </a:r>
          <a:endParaRPr lang="en-US" sz="3000" kern="1200"/>
        </a:p>
      </dsp:txBody>
      <dsp:txXfrm>
        <a:off x="0" y="3138763"/>
        <a:ext cx="6797675" cy="627614"/>
      </dsp:txXfrm>
    </dsp:sp>
    <dsp:sp modelId="{043F855B-FA62-4FFC-A8E1-8B386E6BF582}">
      <dsp:nvSpPr>
        <dsp:cNvPr id="0" name=""/>
        <dsp:cNvSpPr/>
      </dsp:nvSpPr>
      <dsp:spPr>
        <a:xfrm>
          <a:off x="0" y="3766378"/>
          <a:ext cx="6797675" cy="0"/>
        </a:xfrm>
        <a:prstGeom prst="line">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BDEA7A-D404-4D4B-8D74-7EC8D1C4BD2F}">
      <dsp:nvSpPr>
        <dsp:cNvPr id="0" name=""/>
        <dsp:cNvSpPr/>
      </dsp:nvSpPr>
      <dsp:spPr>
        <a:xfrm>
          <a:off x="0" y="3766378"/>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Ethical and Bias Issues</a:t>
          </a:r>
          <a:endParaRPr lang="en-US" sz="3000" kern="1200"/>
        </a:p>
      </dsp:txBody>
      <dsp:txXfrm>
        <a:off x="0" y="3766378"/>
        <a:ext cx="6797675" cy="627614"/>
      </dsp:txXfrm>
    </dsp:sp>
    <dsp:sp modelId="{1E59517D-2D7D-490E-AF5C-786E56683A43}">
      <dsp:nvSpPr>
        <dsp:cNvPr id="0" name=""/>
        <dsp:cNvSpPr/>
      </dsp:nvSpPr>
      <dsp:spPr>
        <a:xfrm>
          <a:off x="0" y="4393992"/>
          <a:ext cx="6797675" cy="0"/>
        </a:xfrm>
        <a:prstGeom prst="line">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C3110C-A822-4D92-91F3-CFE08A1E2256}">
      <dsp:nvSpPr>
        <dsp:cNvPr id="0" name=""/>
        <dsp:cNvSpPr/>
      </dsp:nvSpPr>
      <dsp:spPr>
        <a:xfrm>
          <a:off x="0" y="4393992"/>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Multimodality</a:t>
          </a:r>
          <a:endParaRPr lang="en-US" sz="3000" kern="1200"/>
        </a:p>
      </dsp:txBody>
      <dsp:txXfrm>
        <a:off x="0" y="4393992"/>
        <a:ext cx="6797675" cy="627614"/>
      </dsp:txXfrm>
    </dsp:sp>
    <dsp:sp modelId="{A5F56858-7E0C-42E3-ACAC-8E11AC04619C}">
      <dsp:nvSpPr>
        <dsp:cNvPr id="0" name=""/>
        <dsp:cNvSpPr/>
      </dsp:nvSpPr>
      <dsp:spPr>
        <a:xfrm>
          <a:off x="0" y="5021607"/>
          <a:ext cx="6797675" cy="0"/>
        </a:xfrm>
        <a:prstGeom prst="line">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65C052-394C-4C69-9CCC-9A29C0ABFC27}">
      <dsp:nvSpPr>
        <dsp:cNvPr id="0" name=""/>
        <dsp:cNvSpPr/>
      </dsp:nvSpPr>
      <dsp:spPr>
        <a:xfrm>
          <a:off x="0" y="5021607"/>
          <a:ext cx="6797675" cy="627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IN" sz="3000" b="1" i="0" kern="1200"/>
            <a:t>Evaluation Metrics</a:t>
          </a:r>
          <a:endParaRPr lang="en-US" sz="3000" kern="1200"/>
        </a:p>
      </dsp:txBody>
      <dsp:txXfrm>
        <a:off x="0" y="5021607"/>
        <a:ext cx="6797675" cy="6276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C211DC-1887-466F-8C64-11F63DD4275F}">
      <dsp:nvSpPr>
        <dsp:cNvPr id="0" name=""/>
        <dsp:cNvSpPr/>
      </dsp:nvSpPr>
      <dsp:spPr>
        <a:xfrm>
          <a:off x="423120" y="0"/>
          <a:ext cx="3217262" cy="3217262"/>
        </a:xfrm>
        <a:prstGeom prst="triangle">
          <a:avLst/>
        </a:prstGeom>
        <a:gradFill rotWithShape="0">
          <a:gsLst>
            <a:gs pos="0">
              <a:schemeClr val="accent3">
                <a:hueOff val="0"/>
                <a:satOff val="0"/>
                <a:lumOff val="0"/>
                <a:alphaOff val="0"/>
                <a:shade val="85000"/>
                <a:satMod val="130000"/>
              </a:schemeClr>
            </a:gs>
            <a:gs pos="34000">
              <a:schemeClr val="accent3">
                <a:hueOff val="0"/>
                <a:satOff val="0"/>
                <a:lumOff val="0"/>
                <a:alphaOff val="0"/>
                <a:shade val="87000"/>
                <a:satMod val="125000"/>
              </a:schemeClr>
            </a:gs>
            <a:gs pos="70000">
              <a:schemeClr val="accent3">
                <a:hueOff val="0"/>
                <a:satOff val="0"/>
                <a:lumOff val="0"/>
                <a:alphaOff val="0"/>
                <a:tint val="100000"/>
                <a:shade val="90000"/>
                <a:satMod val="130000"/>
              </a:schemeClr>
            </a:gs>
            <a:gs pos="100000">
              <a:schemeClr val="accent3">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0206A849-A044-48E2-8980-964DA5530E06}">
      <dsp:nvSpPr>
        <dsp:cNvPr id="0" name=""/>
        <dsp:cNvSpPr/>
      </dsp:nvSpPr>
      <dsp:spPr>
        <a:xfrm>
          <a:off x="2031751" y="322040"/>
          <a:ext cx="2091220" cy="457454"/>
        </a:xfrm>
        <a:prstGeom prst="round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a:outerShdw blurRad="38100" dist="25400" dir="2700000" algn="br" rotWithShape="0">
            <a:srgbClr val="000000">
              <a:alpha val="60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exical Knowledge</a:t>
          </a:r>
          <a:endParaRPr lang="en-IN" sz="1600" kern="1200" dirty="0"/>
        </a:p>
      </dsp:txBody>
      <dsp:txXfrm>
        <a:off x="2054082" y="344371"/>
        <a:ext cx="2046558" cy="412792"/>
      </dsp:txXfrm>
    </dsp:sp>
    <dsp:sp modelId="{E387592B-5436-4B42-885C-FAA33F2B235D}">
      <dsp:nvSpPr>
        <dsp:cNvPr id="0" name=""/>
        <dsp:cNvSpPr/>
      </dsp:nvSpPr>
      <dsp:spPr>
        <a:xfrm>
          <a:off x="2031751" y="836676"/>
          <a:ext cx="2091220" cy="457454"/>
        </a:xfrm>
        <a:prstGeom prst="roundRect">
          <a:avLst/>
        </a:prstGeom>
        <a:solidFill>
          <a:schemeClr val="lt1">
            <a:alpha val="90000"/>
            <a:hueOff val="0"/>
            <a:satOff val="0"/>
            <a:lumOff val="0"/>
            <a:alphaOff val="0"/>
          </a:schemeClr>
        </a:solidFill>
        <a:ln w="12700" cap="flat" cmpd="sng" algn="ctr">
          <a:solidFill>
            <a:schemeClr val="accent3">
              <a:hueOff val="-1395243"/>
              <a:satOff val="-7643"/>
              <a:lumOff val="2353"/>
              <a:alphaOff val="0"/>
            </a:schemeClr>
          </a:solidFill>
          <a:prstDash val="solid"/>
        </a:ln>
        <a:effectLst>
          <a:outerShdw blurRad="38100" dist="25400" dir="2700000" algn="br" rotWithShape="0">
            <a:srgbClr val="000000">
              <a:alpha val="60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yntactic Knowledge</a:t>
          </a:r>
          <a:endParaRPr lang="en-IN" sz="1600" kern="1200" dirty="0"/>
        </a:p>
      </dsp:txBody>
      <dsp:txXfrm>
        <a:off x="2054082" y="859007"/>
        <a:ext cx="2046558" cy="412792"/>
      </dsp:txXfrm>
    </dsp:sp>
    <dsp:sp modelId="{8C9245D9-45EC-47CC-8671-895E9615F989}">
      <dsp:nvSpPr>
        <dsp:cNvPr id="0" name=""/>
        <dsp:cNvSpPr/>
      </dsp:nvSpPr>
      <dsp:spPr>
        <a:xfrm>
          <a:off x="2031751" y="1351313"/>
          <a:ext cx="2091220" cy="457454"/>
        </a:xfrm>
        <a:prstGeom prst="roundRect">
          <a:avLst/>
        </a:prstGeom>
        <a:solidFill>
          <a:schemeClr val="lt1">
            <a:alpha val="90000"/>
            <a:hueOff val="0"/>
            <a:satOff val="0"/>
            <a:lumOff val="0"/>
            <a:alphaOff val="0"/>
          </a:schemeClr>
        </a:solidFill>
        <a:ln w="12700" cap="flat" cmpd="sng" algn="ctr">
          <a:solidFill>
            <a:schemeClr val="accent3">
              <a:hueOff val="-2790486"/>
              <a:satOff val="-15286"/>
              <a:lumOff val="4706"/>
              <a:alphaOff val="0"/>
            </a:schemeClr>
          </a:solidFill>
          <a:prstDash val="solid"/>
        </a:ln>
        <a:effectLst>
          <a:outerShdw blurRad="38100" dist="25400" dir="2700000" algn="br" rotWithShape="0">
            <a:srgbClr val="000000">
              <a:alpha val="60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emantic Knowledge</a:t>
          </a:r>
          <a:endParaRPr lang="en-IN" sz="1600" kern="1200" dirty="0"/>
        </a:p>
      </dsp:txBody>
      <dsp:txXfrm>
        <a:off x="2054082" y="1373644"/>
        <a:ext cx="2046558" cy="412792"/>
      </dsp:txXfrm>
    </dsp:sp>
    <dsp:sp modelId="{4378F484-8600-4B4B-ADC7-C86A1F79AF71}">
      <dsp:nvSpPr>
        <dsp:cNvPr id="0" name=""/>
        <dsp:cNvSpPr/>
      </dsp:nvSpPr>
      <dsp:spPr>
        <a:xfrm>
          <a:off x="2031751" y="1865949"/>
          <a:ext cx="2091220" cy="457454"/>
        </a:xfrm>
        <a:prstGeom prst="roundRect">
          <a:avLst/>
        </a:prstGeom>
        <a:solidFill>
          <a:schemeClr val="lt1">
            <a:alpha val="90000"/>
            <a:hueOff val="0"/>
            <a:satOff val="0"/>
            <a:lumOff val="0"/>
            <a:alphaOff val="0"/>
          </a:schemeClr>
        </a:solidFill>
        <a:ln w="12700" cap="flat" cmpd="sng" algn="ctr">
          <a:solidFill>
            <a:schemeClr val="accent3">
              <a:hueOff val="-4185729"/>
              <a:satOff val="-22928"/>
              <a:lumOff val="7059"/>
              <a:alphaOff val="0"/>
            </a:schemeClr>
          </a:solidFill>
          <a:prstDash val="solid"/>
        </a:ln>
        <a:effectLst>
          <a:outerShdw blurRad="38100" dist="25400" dir="2700000" algn="br" rotWithShape="0">
            <a:srgbClr val="000000">
              <a:alpha val="60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iscourse Knowledge</a:t>
          </a:r>
          <a:endParaRPr lang="en-IN" sz="1600" kern="1200" dirty="0"/>
        </a:p>
      </dsp:txBody>
      <dsp:txXfrm>
        <a:off x="2054082" y="1888280"/>
        <a:ext cx="2046558" cy="412792"/>
      </dsp:txXfrm>
    </dsp:sp>
    <dsp:sp modelId="{42A3AB32-14E6-4175-B985-2186558A5C6A}">
      <dsp:nvSpPr>
        <dsp:cNvPr id="0" name=""/>
        <dsp:cNvSpPr/>
      </dsp:nvSpPr>
      <dsp:spPr>
        <a:xfrm>
          <a:off x="2031751" y="2380586"/>
          <a:ext cx="2091220" cy="457454"/>
        </a:xfrm>
        <a:prstGeom prst="roundRect">
          <a:avLst/>
        </a:prstGeom>
        <a:solidFill>
          <a:schemeClr val="lt1">
            <a:alpha val="90000"/>
            <a:hueOff val="0"/>
            <a:satOff val="0"/>
            <a:lumOff val="0"/>
            <a:alphaOff val="0"/>
          </a:schemeClr>
        </a:solidFill>
        <a:ln w="12700" cap="flat" cmpd="sng" algn="ctr">
          <a:solidFill>
            <a:schemeClr val="accent3">
              <a:hueOff val="-5580972"/>
              <a:satOff val="-30571"/>
              <a:lumOff val="9412"/>
              <a:alphaOff val="0"/>
            </a:schemeClr>
          </a:solidFill>
          <a:prstDash val="solid"/>
        </a:ln>
        <a:effectLst>
          <a:outerShdw blurRad="38100" dist="25400" dir="2700000" algn="br" rotWithShape="0">
            <a:srgbClr val="000000">
              <a:alpha val="60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ragmatic Knowledge</a:t>
          </a:r>
          <a:endParaRPr lang="en-IN" sz="1600" kern="1200" dirty="0"/>
        </a:p>
      </dsp:txBody>
      <dsp:txXfrm>
        <a:off x="2054082" y="2402917"/>
        <a:ext cx="2046558" cy="41279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8ADA0-D5ED-41EA-B6EB-74480BBEB776}">
      <dsp:nvSpPr>
        <dsp:cNvPr id="0" name=""/>
        <dsp:cNvSpPr/>
      </dsp:nvSpPr>
      <dsp:spPr>
        <a:xfrm rot="10800000">
          <a:off x="0" y="0"/>
          <a:ext cx="7235290" cy="870588"/>
        </a:xfrm>
        <a:prstGeom prst="trapezoid">
          <a:avLst>
            <a:gd name="adj" fmla="val 83108"/>
          </a:avLst>
        </a:prstGeom>
        <a:solidFill>
          <a:schemeClr val="accent3">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Lexical Ambiguity</a:t>
          </a:r>
          <a:endParaRPr lang="en-IN" sz="2500" kern="1200" dirty="0"/>
        </a:p>
      </dsp:txBody>
      <dsp:txXfrm rot="-10800000">
        <a:off x="1266175" y="0"/>
        <a:ext cx="4702938" cy="870588"/>
      </dsp:txXfrm>
    </dsp:sp>
    <dsp:sp modelId="{3A8F4640-B692-484B-A8C5-555310E6FB91}">
      <dsp:nvSpPr>
        <dsp:cNvPr id="0" name=""/>
        <dsp:cNvSpPr/>
      </dsp:nvSpPr>
      <dsp:spPr>
        <a:xfrm rot="10800000">
          <a:off x="723529" y="870588"/>
          <a:ext cx="5788232" cy="870588"/>
        </a:xfrm>
        <a:prstGeom prst="trapezoid">
          <a:avLst>
            <a:gd name="adj" fmla="val 83108"/>
          </a:avLst>
        </a:prstGeom>
        <a:solidFill>
          <a:schemeClr val="accent3">
            <a:shade val="80000"/>
            <a:hueOff val="133367"/>
            <a:satOff val="-12696"/>
            <a:lumOff val="944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Syntactic Ambiguity</a:t>
          </a:r>
          <a:endParaRPr lang="en-IN" sz="2500" kern="1200" dirty="0"/>
        </a:p>
      </dsp:txBody>
      <dsp:txXfrm rot="-10800000">
        <a:off x="1736469" y="870588"/>
        <a:ext cx="3762350" cy="870588"/>
      </dsp:txXfrm>
    </dsp:sp>
    <dsp:sp modelId="{FF66E1E6-B44B-49A6-8695-575EDF6D52C3}">
      <dsp:nvSpPr>
        <dsp:cNvPr id="0" name=""/>
        <dsp:cNvSpPr/>
      </dsp:nvSpPr>
      <dsp:spPr>
        <a:xfrm rot="10800000">
          <a:off x="1447058" y="1741176"/>
          <a:ext cx="4341174" cy="870588"/>
        </a:xfrm>
        <a:prstGeom prst="trapezoid">
          <a:avLst>
            <a:gd name="adj" fmla="val 83108"/>
          </a:avLst>
        </a:prstGeom>
        <a:solidFill>
          <a:schemeClr val="accent3">
            <a:shade val="80000"/>
            <a:hueOff val="266734"/>
            <a:satOff val="-25391"/>
            <a:lumOff val="18897"/>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Semantic Ambiguity</a:t>
          </a:r>
          <a:endParaRPr lang="en-IN" sz="2500" kern="1200" dirty="0"/>
        </a:p>
      </dsp:txBody>
      <dsp:txXfrm rot="-10800000">
        <a:off x="2206763" y="1741176"/>
        <a:ext cx="2821763" cy="870588"/>
      </dsp:txXfrm>
    </dsp:sp>
    <dsp:sp modelId="{EDDD2D88-775D-4CFB-9529-D866741BA7E6}">
      <dsp:nvSpPr>
        <dsp:cNvPr id="0" name=""/>
        <dsp:cNvSpPr/>
      </dsp:nvSpPr>
      <dsp:spPr>
        <a:xfrm rot="10800000">
          <a:off x="2170587" y="2611765"/>
          <a:ext cx="2894116" cy="870588"/>
        </a:xfrm>
        <a:prstGeom prst="trapezoid">
          <a:avLst>
            <a:gd name="adj" fmla="val 83108"/>
          </a:avLst>
        </a:prstGeom>
        <a:solidFill>
          <a:schemeClr val="accent3">
            <a:shade val="80000"/>
            <a:hueOff val="400101"/>
            <a:satOff val="-38087"/>
            <a:lumOff val="2834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Anaphoric Ambiguity</a:t>
          </a:r>
          <a:endParaRPr lang="en-IN" sz="2500" kern="1200" dirty="0"/>
        </a:p>
      </dsp:txBody>
      <dsp:txXfrm rot="-10800000">
        <a:off x="2677057" y="2611765"/>
        <a:ext cx="1881175" cy="870588"/>
      </dsp:txXfrm>
    </dsp:sp>
    <dsp:sp modelId="{1740E2CF-9D73-46C3-B3B3-53B26E9DEF93}">
      <dsp:nvSpPr>
        <dsp:cNvPr id="0" name=""/>
        <dsp:cNvSpPr/>
      </dsp:nvSpPr>
      <dsp:spPr>
        <a:xfrm rot="10800000">
          <a:off x="2894116" y="3482353"/>
          <a:ext cx="1447058" cy="870588"/>
        </a:xfrm>
        <a:prstGeom prst="trapezoid">
          <a:avLst>
            <a:gd name="adj" fmla="val 83108"/>
          </a:avLst>
        </a:prstGeom>
        <a:solidFill>
          <a:schemeClr val="accent3">
            <a:shade val="80000"/>
            <a:hueOff val="533469"/>
            <a:satOff val="-50782"/>
            <a:lumOff val="3779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Pragmatic Ambiguity</a:t>
          </a:r>
          <a:endParaRPr lang="en-IN" sz="2500" kern="1200" dirty="0"/>
        </a:p>
      </dsp:txBody>
      <dsp:txXfrm rot="-10800000">
        <a:off x="2894116" y="3482353"/>
        <a:ext cx="1447058" cy="8705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D94684-B658-427C-80DE-C57283AAEBB0}">
      <dsp:nvSpPr>
        <dsp:cNvPr id="0" name=""/>
        <dsp:cNvSpPr/>
      </dsp:nvSpPr>
      <dsp:spPr>
        <a:xfrm>
          <a:off x="0" y="0"/>
          <a:ext cx="4816302" cy="5153024"/>
        </a:xfrm>
        <a:prstGeom prst="roundRect">
          <a:avLst>
            <a:gd name="adj" fmla="val 10000"/>
          </a:avLst>
        </a:prstGeom>
        <a:gradFill rotWithShape="0">
          <a:gsLst>
            <a:gs pos="0">
              <a:schemeClr val="accent6">
                <a:alpha val="80000"/>
                <a:hueOff val="0"/>
                <a:satOff val="0"/>
                <a:lumOff val="0"/>
                <a:alphaOff val="0"/>
                <a:tint val="50000"/>
                <a:satMod val="300000"/>
              </a:schemeClr>
            </a:gs>
            <a:gs pos="35000">
              <a:schemeClr val="accent6">
                <a:alpha val="80000"/>
                <a:hueOff val="0"/>
                <a:satOff val="0"/>
                <a:lumOff val="0"/>
                <a:alphaOff val="0"/>
                <a:tint val="37000"/>
                <a:satMod val="300000"/>
              </a:schemeClr>
            </a:gs>
            <a:gs pos="100000">
              <a:schemeClr val="accent6">
                <a:alpha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NLG</a:t>
          </a:r>
          <a:r>
            <a:rPr lang="en-US" sz="2800" kern="1200" dirty="0"/>
            <a:t> </a:t>
          </a:r>
        </a:p>
        <a:p>
          <a:pPr marL="0" lvl="0" indent="0" algn="ctr" defTabSz="1244600">
            <a:lnSpc>
              <a:spcPct val="90000"/>
            </a:lnSpc>
            <a:spcBef>
              <a:spcPct val="0"/>
            </a:spcBef>
            <a:spcAft>
              <a:spcPct val="35000"/>
            </a:spcAft>
            <a:buNone/>
          </a:pPr>
          <a:r>
            <a:rPr lang="en-US" sz="1700" b="1" kern="1200" dirty="0"/>
            <a:t>Natural Language Generation </a:t>
          </a:r>
        </a:p>
        <a:p>
          <a:pPr marL="0" lvl="0" indent="0" algn="ctr" defTabSz="1244600">
            <a:lnSpc>
              <a:spcPct val="90000"/>
            </a:lnSpc>
            <a:spcBef>
              <a:spcPct val="0"/>
            </a:spcBef>
            <a:spcAft>
              <a:spcPct val="35000"/>
            </a:spcAft>
            <a:buNone/>
          </a:pPr>
          <a:r>
            <a:rPr lang="en-US" sz="1700" b="1" kern="1200" dirty="0"/>
            <a:t>NLG</a:t>
          </a:r>
          <a:r>
            <a:rPr lang="en-US" sz="1700" kern="1200" dirty="0"/>
            <a:t> Generates Text/Speech  from all kinds of data</a:t>
          </a:r>
        </a:p>
        <a:p>
          <a:pPr marL="0" lvl="0" indent="0" algn="ctr" defTabSz="1244600">
            <a:lnSpc>
              <a:spcPct val="90000"/>
            </a:lnSpc>
            <a:spcBef>
              <a:spcPct val="0"/>
            </a:spcBef>
            <a:spcAft>
              <a:spcPct val="35000"/>
            </a:spcAft>
            <a:buNone/>
          </a:pPr>
          <a:r>
            <a:rPr lang="en-US" sz="1700" b="1" kern="1200" dirty="0"/>
            <a:t>Types: Text-to-Text Generation-</a:t>
          </a:r>
          <a:r>
            <a:rPr lang="en-US" sz="1700" kern="1200" dirty="0"/>
            <a:t>&gt; Input-&gt;existing human written text, output-&gt;machine generated text</a:t>
          </a:r>
          <a:endParaRPr lang="en-US" sz="1700" b="1" kern="1200" dirty="0"/>
        </a:p>
        <a:p>
          <a:pPr marL="0" lvl="0" indent="0" algn="ctr" defTabSz="1244600">
            <a:lnSpc>
              <a:spcPct val="90000"/>
            </a:lnSpc>
            <a:spcBef>
              <a:spcPct val="0"/>
            </a:spcBef>
            <a:spcAft>
              <a:spcPct val="35000"/>
            </a:spcAft>
            <a:buNone/>
          </a:pPr>
          <a:r>
            <a:rPr lang="en-US" sz="1700" b="1" kern="1200" dirty="0"/>
            <a:t>Tasks:</a:t>
          </a:r>
          <a:r>
            <a:rPr lang="en-US" sz="1700" kern="1200" dirty="0"/>
            <a:t> </a:t>
          </a:r>
          <a:r>
            <a:rPr lang="en-US" sz="1700" b="0" i="0" kern="1200" dirty="0"/>
            <a:t>text summarization, language translation,</a:t>
          </a:r>
        </a:p>
        <a:p>
          <a:pPr marL="0" lvl="0" indent="0" algn="ctr" defTabSz="1244600">
            <a:lnSpc>
              <a:spcPct val="90000"/>
            </a:lnSpc>
            <a:spcBef>
              <a:spcPct val="0"/>
            </a:spcBef>
            <a:spcAft>
              <a:spcPct val="35000"/>
            </a:spcAft>
            <a:buNone/>
          </a:pPr>
          <a:r>
            <a:rPr lang="en-US" sz="1700" b="0" i="0" kern="1200" dirty="0"/>
            <a:t>Text simplification, Grammer and spell correction </a:t>
          </a:r>
        </a:p>
        <a:p>
          <a:pPr marL="0" lvl="0" indent="0" algn="ctr" defTabSz="1244600">
            <a:lnSpc>
              <a:spcPct val="90000"/>
            </a:lnSpc>
            <a:spcBef>
              <a:spcPct val="0"/>
            </a:spcBef>
            <a:spcAft>
              <a:spcPct val="35000"/>
            </a:spcAft>
            <a:buNone/>
          </a:pPr>
          <a:r>
            <a:rPr lang="en-US" sz="1700" b="1" kern="1200" dirty="0"/>
            <a:t>Types: Data-to-Text Generation-&gt;</a:t>
          </a:r>
          <a:r>
            <a:rPr lang="en-US" sz="1700" b="0" i="0" kern="1200" dirty="0"/>
            <a:t>Input</a:t>
          </a:r>
          <a:r>
            <a:rPr lang="en-US" sz="1700" b="1" i="0" kern="1200" dirty="0"/>
            <a:t> -&gt;</a:t>
          </a:r>
          <a:r>
            <a:rPr lang="en-US" sz="1700" b="0" i="0" kern="1200" dirty="0"/>
            <a:t> Structured Data or Instructions(Non-Linguistic Data), Output</a:t>
          </a:r>
          <a:r>
            <a:rPr lang="en-US" sz="1700" b="1" i="0" kern="1200" dirty="0"/>
            <a:t>-&gt; </a:t>
          </a:r>
          <a:r>
            <a:rPr lang="en-US" sz="1700" b="0" i="0" kern="1200" dirty="0"/>
            <a:t>Natural language Text or Speech</a:t>
          </a:r>
        </a:p>
        <a:p>
          <a:pPr marL="0" lvl="0" indent="0" algn="ctr" defTabSz="1244600">
            <a:lnSpc>
              <a:spcPct val="90000"/>
            </a:lnSpc>
            <a:spcBef>
              <a:spcPct val="0"/>
            </a:spcBef>
            <a:spcAft>
              <a:spcPct val="35000"/>
            </a:spcAft>
            <a:buNone/>
          </a:pPr>
          <a:r>
            <a:rPr lang="en-US" sz="1700" b="1" kern="1200" dirty="0"/>
            <a:t>Tasks: </a:t>
          </a:r>
          <a:r>
            <a:rPr lang="en-US" sz="1700" b="0" kern="1200" dirty="0"/>
            <a:t>Automated Journalism, Weather Report/ Financial Report generation</a:t>
          </a:r>
        </a:p>
        <a:p>
          <a:pPr marL="0" lvl="0" indent="0" algn="ctr" defTabSz="1244600">
            <a:lnSpc>
              <a:spcPct val="90000"/>
            </a:lnSpc>
            <a:spcBef>
              <a:spcPct val="0"/>
            </a:spcBef>
            <a:spcAft>
              <a:spcPct val="35000"/>
            </a:spcAft>
            <a:buNone/>
          </a:pPr>
          <a:r>
            <a:rPr lang="en-IN" sz="1700" b="1" kern="1200" dirty="0"/>
            <a:t>Example:  </a:t>
          </a:r>
          <a:r>
            <a:rPr lang="en-IN" sz="1700" b="0" kern="1200" dirty="0"/>
            <a:t>W</a:t>
          </a:r>
          <a:r>
            <a:rPr lang="en-IN" sz="1700" b="0" i="0" kern="1200" dirty="0"/>
            <a:t>eather forecasting system Input: </a:t>
          </a:r>
          <a:r>
            <a:rPr lang="en-US" sz="1700" b="0" i="0" kern="1200" dirty="0"/>
            <a:t>temperature, humidity, and wind speed  data </a:t>
          </a:r>
        </a:p>
        <a:p>
          <a:pPr marL="0" lvl="0" indent="0" algn="ctr" defTabSz="1244600">
            <a:lnSpc>
              <a:spcPct val="90000"/>
            </a:lnSpc>
            <a:spcBef>
              <a:spcPct val="0"/>
            </a:spcBef>
            <a:spcAft>
              <a:spcPct val="35000"/>
            </a:spcAft>
            <a:buNone/>
          </a:pPr>
          <a:r>
            <a:rPr lang="en-US" sz="1700" b="0" i="0" kern="1200" dirty="0"/>
            <a:t>Output: weather report in natural language</a:t>
          </a:r>
          <a:endParaRPr lang="en-IN" sz="1700" b="1" kern="1200" dirty="0"/>
        </a:p>
      </dsp:txBody>
      <dsp:txXfrm>
        <a:off x="141065" y="141065"/>
        <a:ext cx="4534172" cy="4870894"/>
      </dsp:txXfrm>
    </dsp:sp>
    <dsp:sp modelId="{F0DE685F-4773-4583-BFCD-91BA5274B009}">
      <dsp:nvSpPr>
        <dsp:cNvPr id="0" name=""/>
        <dsp:cNvSpPr/>
      </dsp:nvSpPr>
      <dsp:spPr>
        <a:xfrm>
          <a:off x="5384461" y="0"/>
          <a:ext cx="4816302" cy="5153024"/>
        </a:xfrm>
        <a:prstGeom prst="roundRect">
          <a:avLst>
            <a:gd name="adj" fmla="val 10000"/>
          </a:avLst>
        </a:prstGeom>
        <a:gradFill rotWithShape="0">
          <a:gsLst>
            <a:gs pos="0">
              <a:schemeClr val="accent6">
                <a:alpha val="80000"/>
                <a:hueOff val="0"/>
                <a:satOff val="0"/>
                <a:lumOff val="0"/>
                <a:alphaOff val="0"/>
                <a:tint val="50000"/>
                <a:satMod val="300000"/>
              </a:schemeClr>
            </a:gs>
            <a:gs pos="35000">
              <a:schemeClr val="accent6">
                <a:alpha val="80000"/>
                <a:hueOff val="0"/>
                <a:satOff val="0"/>
                <a:lumOff val="0"/>
                <a:alphaOff val="0"/>
                <a:tint val="37000"/>
                <a:satMod val="300000"/>
              </a:schemeClr>
            </a:gs>
            <a:gs pos="100000">
              <a:schemeClr val="accent6">
                <a:alpha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NLU</a:t>
          </a:r>
          <a:r>
            <a:rPr lang="en-US" sz="2800" kern="1200" dirty="0"/>
            <a:t> </a:t>
          </a:r>
        </a:p>
        <a:p>
          <a:pPr marL="0" lvl="0" indent="0" algn="ctr" defTabSz="1244600">
            <a:lnSpc>
              <a:spcPct val="90000"/>
            </a:lnSpc>
            <a:spcBef>
              <a:spcPct val="0"/>
            </a:spcBef>
            <a:spcAft>
              <a:spcPct val="35000"/>
            </a:spcAft>
            <a:buNone/>
          </a:pPr>
          <a:r>
            <a:rPr lang="en-US" sz="1700" b="1" kern="1200" dirty="0"/>
            <a:t>Natural Language Understanding  </a:t>
          </a:r>
        </a:p>
        <a:p>
          <a:pPr marL="0" lvl="0" indent="0" algn="ctr" defTabSz="1244600">
            <a:lnSpc>
              <a:spcPct val="90000"/>
            </a:lnSpc>
            <a:spcBef>
              <a:spcPct val="0"/>
            </a:spcBef>
            <a:spcAft>
              <a:spcPct val="35000"/>
            </a:spcAft>
            <a:buNone/>
          </a:pPr>
          <a:r>
            <a:rPr lang="en-US" sz="1700" b="1" kern="1200" dirty="0"/>
            <a:t>NLU</a:t>
          </a:r>
          <a:r>
            <a:rPr lang="en-US" sz="1700" kern="1200" dirty="0"/>
            <a:t> focus on </a:t>
          </a:r>
          <a:r>
            <a:rPr lang="en-US" sz="1700" b="0" i="0" kern="1200" dirty="0"/>
            <a:t> extract meaning, entities, intents, and context ,dialects, slangs from the text or speech</a:t>
          </a:r>
        </a:p>
        <a:p>
          <a:pPr marL="0" lvl="0" indent="0" algn="ctr" defTabSz="1244600">
            <a:lnSpc>
              <a:spcPct val="90000"/>
            </a:lnSpc>
            <a:spcBef>
              <a:spcPct val="0"/>
            </a:spcBef>
            <a:spcAft>
              <a:spcPct val="35000"/>
            </a:spcAft>
            <a:buNone/>
          </a:pPr>
          <a:r>
            <a:rPr lang="en-US" sz="1700" b="1" i="0" kern="1200" dirty="0"/>
            <a:t>Tasks</a:t>
          </a:r>
          <a:r>
            <a:rPr lang="en-US" sz="1700" b="0" i="0" kern="1200" dirty="0"/>
            <a:t>:</a:t>
          </a:r>
          <a:r>
            <a:rPr lang="en-IN" sz="1700" b="0" i="0" kern="1200" dirty="0"/>
            <a:t>language parsing, semantic analysis, entity recognition, sentiment analysis, and intent classification</a:t>
          </a:r>
        </a:p>
        <a:p>
          <a:pPr marL="0" lvl="0" indent="0" algn="ctr" defTabSz="1244600">
            <a:lnSpc>
              <a:spcPct val="90000"/>
            </a:lnSpc>
            <a:spcBef>
              <a:spcPct val="0"/>
            </a:spcBef>
            <a:spcAft>
              <a:spcPct val="35000"/>
            </a:spcAft>
            <a:buNone/>
          </a:pPr>
          <a:r>
            <a:rPr lang="en-IN" sz="1700" b="1" i="0" kern="1200" dirty="0"/>
            <a:t>Input</a:t>
          </a:r>
          <a:r>
            <a:rPr lang="en-IN" sz="1700" b="0" i="0" kern="1200" dirty="0"/>
            <a:t>: Natural Language Text or Speech</a:t>
          </a:r>
        </a:p>
        <a:p>
          <a:pPr marL="0" lvl="0" indent="0" algn="ctr" defTabSz="1244600">
            <a:lnSpc>
              <a:spcPct val="90000"/>
            </a:lnSpc>
            <a:spcBef>
              <a:spcPct val="0"/>
            </a:spcBef>
            <a:spcAft>
              <a:spcPct val="35000"/>
            </a:spcAft>
            <a:buNone/>
          </a:pPr>
          <a:r>
            <a:rPr lang="en-IN" sz="1700" b="1" i="0" kern="1200" dirty="0"/>
            <a:t>Output</a:t>
          </a:r>
          <a:r>
            <a:rPr lang="en-IN" sz="1700" b="0" i="0" kern="1200" dirty="0"/>
            <a:t>: Structured Data or Metadata</a:t>
          </a:r>
        </a:p>
        <a:p>
          <a:pPr marL="0" lvl="0" indent="0" algn="ctr" defTabSz="1244600">
            <a:lnSpc>
              <a:spcPct val="90000"/>
            </a:lnSpc>
            <a:spcBef>
              <a:spcPct val="0"/>
            </a:spcBef>
            <a:spcAft>
              <a:spcPct val="35000"/>
            </a:spcAft>
            <a:buNone/>
          </a:pPr>
          <a:r>
            <a:rPr lang="en-IN" sz="1700" b="1" i="0" kern="1200" dirty="0"/>
            <a:t>Example</a:t>
          </a:r>
          <a:r>
            <a:rPr lang="en-IN" sz="1700" b="0" i="0" kern="1200" dirty="0"/>
            <a:t>: Automatic Ticket Routing System</a:t>
          </a:r>
        </a:p>
        <a:p>
          <a:pPr marL="0" lvl="0" indent="0" algn="ctr" defTabSz="1244600">
            <a:lnSpc>
              <a:spcPct val="90000"/>
            </a:lnSpc>
            <a:spcBef>
              <a:spcPct val="0"/>
            </a:spcBef>
            <a:spcAft>
              <a:spcPct val="35000"/>
            </a:spcAft>
            <a:buNone/>
          </a:pPr>
          <a:r>
            <a:rPr lang="en-IN" sz="1700" b="0" i="0" kern="1200" dirty="0"/>
            <a:t>Input: customer support tickets, Customer Complaints</a:t>
          </a:r>
        </a:p>
        <a:p>
          <a:pPr marL="0" lvl="0" indent="0" algn="ctr" defTabSz="1244600">
            <a:lnSpc>
              <a:spcPct val="90000"/>
            </a:lnSpc>
            <a:spcBef>
              <a:spcPct val="0"/>
            </a:spcBef>
            <a:spcAft>
              <a:spcPct val="35000"/>
            </a:spcAft>
            <a:buNone/>
          </a:pPr>
          <a:r>
            <a:rPr lang="en-IN" sz="1700" b="0" i="0" kern="1200" dirty="0"/>
            <a:t>Output:  Entities such as topic, sentiment, and urgency</a:t>
          </a:r>
        </a:p>
        <a:p>
          <a:pPr marL="0" lvl="0" indent="0" algn="ctr" defTabSz="1244600">
            <a:lnSpc>
              <a:spcPct val="90000"/>
            </a:lnSpc>
            <a:spcBef>
              <a:spcPct val="0"/>
            </a:spcBef>
            <a:spcAft>
              <a:spcPct val="35000"/>
            </a:spcAft>
            <a:buNone/>
          </a:pPr>
          <a:endParaRPr lang="en-IN" sz="1700" kern="1200" dirty="0"/>
        </a:p>
      </dsp:txBody>
      <dsp:txXfrm>
        <a:off x="5525526" y="141065"/>
        <a:ext cx="4534172" cy="48708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423E55-EE57-410A-9197-4FFA95281BC2}">
      <dsp:nvSpPr>
        <dsp:cNvPr id="0" name=""/>
        <dsp:cNvSpPr/>
      </dsp:nvSpPr>
      <dsp:spPr>
        <a:xfrm>
          <a:off x="2436006" y="2082"/>
          <a:ext cx="9744024" cy="913551"/>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9061" tIns="232042" rIns="189061" bIns="232042" numCol="1" spcCol="1270" anchor="ctr" anchorCtr="0">
          <a:noAutofit/>
        </a:bodyPr>
        <a:lstStyle/>
        <a:p>
          <a:pPr marL="0" lvl="0" indent="0" algn="l" defTabSz="622300">
            <a:lnSpc>
              <a:spcPct val="90000"/>
            </a:lnSpc>
            <a:spcBef>
              <a:spcPct val="0"/>
            </a:spcBef>
            <a:spcAft>
              <a:spcPct val="35000"/>
            </a:spcAft>
            <a:buNone/>
          </a:pPr>
          <a:r>
            <a:rPr lang="en-US" sz="1400" b="0" i="0" kern="1200" dirty="0"/>
            <a:t>use predefined templates to generate text based on input data</a:t>
          </a:r>
          <a:endParaRPr lang="en-IN" sz="1400" kern="1200" dirty="0"/>
        </a:p>
        <a:p>
          <a:pPr marL="0" lvl="0" indent="0" algn="l" defTabSz="622300">
            <a:lnSpc>
              <a:spcPct val="90000"/>
            </a:lnSpc>
            <a:spcBef>
              <a:spcPct val="0"/>
            </a:spcBef>
            <a:spcAft>
              <a:spcPct val="35000"/>
            </a:spcAft>
            <a:buNone/>
          </a:pPr>
          <a:r>
            <a:rPr lang="en-US" sz="1400" b="0" i="0" kern="1200" dirty="0"/>
            <a:t>substitute placeholders in templates with relevant data</a:t>
          </a:r>
          <a:endParaRPr lang="en-IN" sz="1400" kern="1200" dirty="0"/>
        </a:p>
        <a:p>
          <a:pPr marL="0" lvl="0" indent="0" algn="l" defTabSz="622300">
            <a:lnSpc>
              <a:spcPct val="90000"/>
            </a:lnSpc>
            <a:spcBef>
              <a:spcPct val="0"/>
            </a:spcBef>
            <a:spcAft>
              <a:spcPct val="35000"/>
            </a:spcAft>
            <a:buNone/>
          </a:pPr>
          <a:r>
            <a:rPr lang="en-US" sz="1400" b="0" i="0" kern="1200">
              <a:effectLst/>
              <a:latin typeface="Söhne"/>
            </a:rPr>
            <a:t>A weather report generator that fills in a template like "The weather in [location] is [temperature] with [condition]</a:t>
          </a:r>
          <a:endParaRPr lang="en-IN" sz="1400" kern="1200"/>
        </a:p>
      </dsp:txBody>
      <dsp:txXfrm>
        <a:off x="2436006" y="2082"/>
        <a:ext cx="9744024" cy="913551"/>
      </dsp:txXfrm>
    </dsp:sp>
    <dsp:sp modelId="{595A4D57-DF02-45FE-95E4-983C80BEC0C3}">
      <dsp:nvSpPr>
        <dsp:cNvPr id="0" name=""/>
        <dsp:cNvSpPr/>
      </dsp:nvSpPr>
      <dsp:spPr>
        <a:xfrm>
          <a:off x="0" y="2082"/>
          <a:ext cx="2436006" cy="913551"/>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905" tIns="90239" rIns="128905" bIns="90239" numCol="1" spcCol="1270" anchor="ctr" anchorCtr="0">
          <a:noAutofit/>
        </a:bodyPr>
        <a:lstStyle/>
        <a:p>
          <a:pPr marL="0" lvl="0" indent="0" algn="ctr" defTabSz="889000">
            <a:lnSpc>
              <a:spcPct val="90000"/>
            </a:lnSpc>
            <a:spcBef>
              <a:spcPct val="0"/>
            </a:spcBef>
            <a:spcAft>
              <a:spcPct val="35000"/>
            </a:spcAft>
            <a:buNone/>
          </a:pPr>
          <a:r>
            <a:rPr lang="en-US" sz="2000" kern="1200" dirty="0"/>
            <a:t>Template Based NLG</a:t>
          </a:r>
          <a:endParaRPr lang="en-IN" sz="2000" kern="1200" dirty="0"/>
        </a:p>
      </dsp:txBody>
      <dsp:txXfrm>
        <a:off x="0" y="2082"/>
        <a:ext cx="2436006" cy="913551"/>
      </dsp:txXfrm>
    </dsp:sp>
    <dsp:sp modelId="{1CBAB366-2098-4987-A250-A44D1D60944F}">
      <dsp:nvSpPr>
        <dsp:cNvPr id="0" name=""/>
        <dsp:cNvSpPr/>
      </dsp:nvSpPr>
      <dsp:spPr>
        <a:xfrm>
          <a:off x="2436006" y="970446"/>
          <a:ext cx="9744024" cy="913551"/>
        </a:xfrm>
        <a:prstGeom prst="rect">
          <a:avLst/>
        </a:prstGeom>
        <a:solidFill>
          <a:schemeClr val="accent2">
            <a:tint val="40000"/>
            <a:alpha val="90000"/>
            <a:hueOff val="1256455"/>
            <a:satOff val="-1094"/>
            <a:lumOff val="-1"/>
            <a:alphaOff val="0"/>
          </a:schemeClr>
        </a:solidFill>
        <a:ln w="25400" cap="flat" cmpd="sng" algn="ctr">
          <a:solidFill>
            <a:schemeClr val="accent2">
              <a:tint val="40000"/>
              <a:alpha val="90000"/>
              <a:hueOff val="1256455"/>
              <a:satOff val="-1094"/>
              <a:lumOff val="-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9061" tIns="232042" rIns="189061" bIns="232042" numCol="1" spcCol="1270" anchor="ctr" anchorCtr="0">
          <a:noAutofit/>
        </a:bodyPr>
        <a:lstStyle/>
        <a:p>
          <a:pPr marL="0" lvl="0" indent="0" algn="l" defTabSz="622300">
            <a:lnSpc>
              <a:spcPct val="90000"/>
            </a:lnSpc>
            <a:spcBef>
              <a:spcPct val="0"/>
            </a:spcBef>
            <a:spcAft>
              <a:spcPct val="35000"/>
            </a:spcAft>
            <a:buNone/>
          </a:pPr>
          <a:r>
            <a:rPr lang="en-US" sz="1400" b="0" i="0" kern="1200"/>
            <a:t>use linguistic rules and grammatical structures to generate text. </a:t>
          </a:r>
          <a:endParaRPr lang="en-IN" sz="1400" kern="1200"/>
        </a:p>
        <a:p>
          <a:pPr marL="0" lvl="0" indent="0" algn="l" defTabSz="622300">
            <a:lnSpc>
              <a:spcPct val="90000"/>
            </a:lnSpc>
            <a:spcBef>
              <a:spcPct val="0"/>
            </a:spcBef>
            <a:spcAft>
              <a:spcPct val="35000"/>
            </a:spcAft>
            <a:buNone/>
          </a:pPr>
          <a:r>
            <a:rPr lang="en-US" sz="1400" kern="1200"/>
            <a:t>Need </a:t>
          </a:r>
          <a:r>
            <a:rPr lang="en-IN" sz="1400" b="0" i="0" kern="1200"/>
            <a:t>linguists and domain experts in loop</a:t>
          </a:r>
          <a:endParaRPr lang="en-IN" sz="1400" kern="1200"/>
        </a:p>
        <a:p>
          <a:pPr marL="0" lvl="0" indent="0" algn="l" defTabSz="622300">
            <a:lnSpc>
              <a:spcPct val="90000"/>
            </a:lnSpc>
            <a:spcBef>
              <a:spcPct val="0"/>
            </a:spcBef>
            <a:spcAft>
              <a:spcPct val="35000"/>
            </a:spcAft>
            <a:buNone/>
          </a:pPr>
          <a:r>
            <a:rPr lang="en-US" sz="1400" b="0" i="0" kern="1200"/>
            <a:t>A medical report generator that follows specific guidelines to create patient summaries based on diagnosis and treatment</a:t>
          </a:r>
          <a:endParaRPr lang="en-IN" sz="1400" kern="1200"/>
        </a:p>
      </dsp:txBody>
      <dsp:txXfrm>
        <a:off x="2436006" y="970446"/>
        <a:ext cx="9744024" cy="913551"/>
      </dsp:txXfrm>
    </dsp:sp>
    <dsp:sp modelId="{350BEB63-55F0-41E1-8A81-099953FEDEA1}">
      <dsp:nvSpPr>
        <dsp:cNvPr id="0" name=""/>
        <dsp:cNvSpPr/>
      </dsp:nvSpPr>
      <dsp:spPr>
        <a:xfrm>
          <a:off x="0" y="970446"/>
          <a:ext cx="2436006" cy="913551"/>
        </a:xfrm>
        <a:prstGeom prst="rect">
          <a:avLst/>
        </a:prstGeom>
        <a:solidFill>
          <a:schemeClr val="accent2">
            <a:hueOff val="1170380"/>
            <a:satOff val="-1460"/>
            <a:lumOff val="343"/>
            <a:alphaOff val="0"/>
          </a:schemeClr>
        </a:solidFill>
        <a:ln w="25400" cap="flat" cmpd="sng" algn="ctr">
          <a:solidFill>
            <a:schemeClr val="accent2">
              <a:hueOff val="1170380"/>
              <a:satOff val="-1460"/>
              <a:lumOff val="34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905" tIns="90239" rIns="128905" bIns="90239" numCol="1" spcCol="1270" anchor="ctr" anchorCtr="0">
          <a:noAutofit/>
        </a:bodyPr>
        <a:lstStyle/>
        <a:p>
          <a:pPr marL="0" lvl="0" indent="0" algn="ctr" defTabSz="889000">
            <a:lnSpc>
              <a:spcPct val="90000"/>
            </a:lnSpc>
            <a:spcBef>
              <a:spcPct val="0"/>
            </a:spcBef>
            <a:spcAft>
              <a:spcPct val="35000"/>
            </a:spcAft>
            <a:buNone/>
          </a:pPr>
          <a:r>
            <a:rPr lang="en-US" sz="2000" kern="1200" dirty="0"/>
            <a:t>Rule Based NLG</a:t>
          </a:r>
          <a:endParaRPr lang="en-IN" sz="2000" kern="1200" dirty="0"/>
        </a:p>
      </dsp:txBody>
      <dsp:txXfrm>
        <a:off x="0" y="970446"/>
        <a:ext cx="2436006" cy="913551"/>
      </dsp:txXfrm>
    </dsp:sp>
    <dsp:sp modelId="{F38948F3-8AAA-4380-8306-707723602AFE}">
      <dsp:nvSpPr>
        <dsp:cNvPr id="0" name=""/>
        <dsp:cNvSpPr/>
      </dsp:nvSpPr>
      <dsp:spPr>
        <a:xfrm>
          <a:off x="2436006" y="1938811"/>
          <a:ext cx="9744024" cy="913551"/>
        </a:xfrm>
        <a:prstGeom prst="rect">
          <a:avLst/>
        </a:prstGeom>
        <a:solidFill>
          <a:schemeClr val="accent2">
            <a:tint val="40000"/>
            <a:alpha val="90000"/>
            <a:hueOff val="2512910"/>
            <a:satOff val="-2189"/>
            <a:lumOff val="-3"/>
            <a:alphaOff val="0"/>
          </a:schemeClr>
        </a:solidFill>
        <a:ln w="25400" cap="flat" cmpd="sng" algn="ctr">
          <a:solidFill>
            <a:schemeClr val="accent2">
              <a:tint val="40000"/>
              <a:alpha val="90000"/>
              <a:hueOff val="2512910"/>
              <a:satOff val="-2189"/>
              <a:lumOff val="-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9061" tIns="232042" rIns="189061" bIns="232042" numCol="1" spcCol="1270" anchor="ctr" anchorCtr="0">
          <a:noAutofit/>
        </a:bodyPr>
        <a:lstStyle/>
        <a:p>
          <a:pPr marL="0" lvl="0" indent="0" algn="l" defTabSz="622300">
            <a:lnSpc>
              <a:spcPct val="90000"/>
            </a:lnSpc>
            <a:spcBef>
              <a:spcPct val="0"/>
            </a:spcBef>
            <a:spcAft>
              <a:spcPct val="35000"/>
            </a:spcAft>
            <a:buNone/>
          </a:pPr>
          <a:r>
            <a:rPr lang="en-US" sz="1400" b="0" i="0" kern="1200" dirty="0"/>
            <a:t>learn statistical patterns from large datasets to generate text</a:t>
          </a:r>
          <a:endParaRPr lang="en-IN" sz="1400" kern="1200" dirty="0"/>
        </a:p>
        <a:p>
          <a:pPr marL="0" lvl="0" indent="0" algn="l" defTabSz="622300">
            <a:lnSpc>
              <a:spcPct val="90000"/>
            </a:lnSpc>
            <a:spcBef>
              <a:spcPct val="0"/>
            </a:spcBef>
            <a:spcAft>
              <a:spcPct val="35000"/>
            </a:spcAft>
            <a:buNone/>
          </a:pPr>
          <a:r>
            <a:rPr lang="en-US" sz="1400" b="0" i="0" kern="1200"/>
            <a:t>rely on probabilistic models to generate natural language.</a:t>
          </a:r>
          <a:endParaRPr lang="en-IN" sz="1400" kern="1200"/>
        </a:p>
        <a:p>
          <a:pPr marL="0" lvl="0" indent="0" algn="l" defTabSz="622300">
            <a:lnSpc>
              <a:spcPct val="90000"/>
            </a:lnSpc>
            <a:spcBef>
              <a:spcPct val="0"/>
            </a:spcBef>
            <a:spcAft>
              <a:spcPct val="35000"/>
            </a:spcAft>
            <a:buNone/>
          </a:pPr>
          <a:r>
            <a:rPr lang="en-US" sz="1400" kern="1200"/>
            <a:t>N Gram Models , Hidden Markov Models are widely used.</a:t>
          </a:r>
          <a:endParaRPr lang="en-IN" sz="1400" kern="1200"/>
        </a:p>
      </dsp:txBody>
      <dsp:txXfrm>
        <a:off x="2436006" y="1938811"/>
        <a:ext cx="9744024" cy="913551"/>
      </dsp:txXfrm>
    </dsp:sp>
    <dsp:sp modelId="{2A71BCCA-E3D2-4AFE-9518-438B47F2A885}">
      <dsp:nvSpPr>
        <dsp:cNvPr id="0" name=""/>
        <dsp:cNvSpPr/>
      </dsp:nvSpPr>
      <dsp:spPr>
        <a:xfrm>
          <a:off x="0" y="1938811"/>
          <a:ext cx="2436006" cy="913551"/>
        </a:xfrm>
        <a:prstGeom prst="rect">
          <a:avLst/>
        </a:prstGeom>
        <a:solidFill>
          <a:schemeClr val="accent2">
            <a:hueOff val="2340759"/>
            <a:satOff val="-2919"/>
            <a:lumOff val="686"/>
            <a:alphaOff val="0"/>
          </a:schemeClr>
        </a:solidFill>
        <a:ln w="25400" cap="flat" cmpd="sng" algn="ctr">
          <a:solidFill>
            <a:schemeClr val="accent2">
              <a:hueOff val="2340759"/>
              <a:satOff val="-2919"/>
              <a:lumOff val="68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905" tIns="90239" rIns="128905" bIns="90239" numCol="1" spcCol="1270" anchor="ctr" anchorCtr="0">
          <a:noAutofit/>
        </a:bodyPr>
        <a:lstStyle/>
        <a:p>
          <a:pPr marL="0" lvl="0" indent="0" algn="ctr" defTabSz="889000">
            <a:lnSpc>
              <a:spcPct val="90000"/>
            </a:lnSpc>
            <a:spcBef>
              <a:spcPct val="0"/>
            </a:spcBef>
            <a:spcAft>
              <a:spcPct val="35000"/>
            </a:spcAft>
            <a:buNone/>
          </a:pPr>
          <a:r>
            <a:rPr lang="en-US" sz="2000" kern="1200" dirty="0"/>
            <a:t>Statistical NLG</a:t>
          </a:r>
          <a:endParaRPr lang="en-IN" sz="2000" kern="1200" dirty="0"/>
        </a:p>
      </dsp:txBody>
      <dsp:txXfrm>
        <a:off x="0" y="1938811"/>
        <a:ext cx="2436006" cy="913551"/>
      </dsp:txXfrm>
    </dsp:sp>
    <dsp:sp modelId="{1BCD405E-DD95-489E-9572-C36DD35E350C}">
      <dsp:nvSpPr>
        <dsp:cNvPr id="0" name=""/>
        <dsp:cNvSpPr/>
      </dsp:nvSpPr>
      <dsp:spPr>
        <a:xfrm>
          <a:off x="2436006" y="2907176"/>
          <a:ext cx="9744024" cy="913551"/>
        </a:xfrm>
        <a:prstGeom prst="rect">
          <a:avLst/>
        </a:prstGeom>
        <a:solidFill>
          <a:schemeClr val="accent2">
            <a:tint val="40000"/>
            <a:alpha val="90000"/>
            <a:hueOff val="3769366"/>
            <a:satOff val="-3283"/>
            <a:lumOff val="-4"/>
            <a:alphaOff val="0"/>
          </a:schemeClr>
        </a:solidFill>
        <a:ln w="25400" cap="flat" cmpd="sng" algn="ctr">
          <a:solidFill>
            <a:schemeClr val="accent2">
              <a:tint val="40000"/>
              <a:alpha val="90000"/>
              <a:hueOff val="3769366"/>
              <a:satOff val="-3283"/>
              <a:lumOff val="-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9061" tIns="232042" rIns="189061" bIns="232042" numCol="1" spcCol="1270" anchor="ctr" anchorCtr="0">
          <a:noAutofit/>
        </a:bodyPr>
        <a:lstStyle/>
        <a:p>
          <a:pPr marL="0" lvl="0" indent="0" algn="l" defTabSz="622300">
            <a:lnSpc>
              <a:spcPct val="90000"/>
            </a:lnSpc>
            <a:spcBef>
              <a:spcPct val="0"/>
            </a:spcBef>
            <a:spcAft>
              <a:spcPct val="35000"/>
            </a:spcAft>
            <a:buNone/>
          </a:pPr>
          <a:r>
            <a:rPr lang="en-US" sz="1400" b="0" i="0" kern="1200" dirty="0"/>
            <a:t>can be trained or fine-tuned on specific datasets or tasks to improve their performance</a:t>
          </a:r>
          <a:endParaRPr lang="en-IN" sz="1400" kern="1200" dirty="0"/>
        </a:p>
        <a:p>
          <a:pPr marL="0" lvl="0" indent="0" algn="l" defTabSz="622300">
            <a:lnSpc>
              <a:spcPct val="90000"/>
            </a:lnSpc>
            <a:spcBef>
              <a:spcPct val="0"/>
            </a:spcBef>
            <a:spcAft>
              <a:spcPct val="35000"/>
            </a:spcAft>
            <a:buNone/>
          </a:pPr>
          <a:r>
            <a:rPr lang="en-IN" sz="1400" b="0" i="0" kern="1200"/>
            <a:t>Machine learning/ Deep Learning techniques </a:t>
          </a:r>
          <a:endParaRPr lang="en-IN" sz="1400" kern="1200"/>
        </a:p>
        <a:p>
          <a:pPr marL="0" lvl="0" indent="0" algn="l" defTabSz="622300">
            <a:lnSpc>
              <a:spcPct val="90000"/>
            </a:lnSpc>
            <a:spcBef>
              <a:spcPct val="0"/>
            </a:spcBef>
            <a:spcAft>
              <a:spcPct val="35000"/>
            </a:spcAft>
            <a:buNone/>
          </a:pPr>
          <a:r>
            <a:rPr lang="en-US" sz="1400" kern="1200"/>
            <a:t>Data driven approach</a:t>
          </a:r>
          <a:endParaRPr lang="en-IN" sz="1400" kern="1200"/>
        </a:p>
      </dsp:txBody>
      <dsp:txXfrm>
        <a:off x="2436006" y="2907176"/>
        <a:ext cx="9744024" cy="913551"/>
      </dsp:txXfrm>
    </dsp:sp>
    <dsp:sp modelId="{924E3E6A-DEED-4F88-9230-64070AE087B3}">
      <dsp:nvSpPr>
        <dsp:cNvPr id="0" name=""/>
        <dsp:cNvSpPr/>
      </dsp:nvSpPr>
      <dsp:spPr>
        <a:xfrm>
          <a:off x="0" y="2907176"/>
          <a:ext cx="2436006" cy="913551"/>
        </a:xfrm>
        <a:prstGeom prst="rect">
          <a:avLst/>
        </a:prstGeom>
        <a:solidFill>
          <a:schemeClr val="accent2">
            <a:hueOff val="3511139"/>
            <a:satOff val="-4379"/>
            <a:lumOff val="1030"/>
            <a:alphaOff val="0"/>
          </a:schemeClr>
        </a:solidFill>
        <a:ln w="25400" cap="flat" cmpd="sng" algn="ctr">
          <a:solidFill>
            <a:schemeClr val="accent2">
              <a:hueOff val="3511139"/>
              <a:satOff val="-4379"/>
              <a:lumOff val="103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905" tIns="90239" rIns="128905" bIns="90239" numCol="1" spcCol="1270" anchor="ctr" anchorCtr="0">
          <a:noAutofit/>
        </a:bodyPr>
        <a:lstStyle/>
        <a:p>
          <a:pPr marL="0" lvl="0" indent="0" algn="ctr" defTabSz="889000">
            <a:lnSpc>
              <a:spcPct val="90000"/>
            </a:lnSpc>
            <a:spcBef>
              <a:spcPct val="0"/>
            </a:spcBef>
            <a:spcAft>
              <a:spcPct val="35000"/>
            </a:spcAft>
            <a:buNone/>
          </a:pPr>
          <a:r>
            <a:rPr lang="en-US" sz="2000" kern="1200" dirty="0"/>
            <a:t>Trainable NLG</a:t>
          </a:r>
          <a:endParaRPr lang="en-IN" sz="2000" kern="1200" dirty="0"/>
        </a:p>
      </dsp:txBody>
      <dsp:txXfrm>
        <a:off x="0" y="2907176"/>
        <a:ext cx="2436006" cy="913551"/>
      </dsp:txXfrm>
    </dsp:sp>
    <dsp:sp modelId="{B91B6D77-896B-4A81-A5D5-978A825F5466}">
      <dsp:nvSpPr>
        <dsp:cNvPr id="0" name=""/>
        <dsp:cNvSpPr/>
      </dsp:nvSpPr>
      <dsp:spPr>
        <a:xfrm>
          <a:off x="2436006" y="3875541"/>
          <a:ext cx="9744024" cy="913551"/>
        </a:xfrm>
        <a:prstGeom prst="rect">
          <a:avLst/>
        </a:prstGeom>
        <a:solidFill>
          <a:schemeClr val="accent2">
            <a:tint val="40000"/>
            <a:alpha val="90000"/>
            <a:hueOff val="5025821"/>
            <a:satOff val="-4378"/>
            <a:lumOff val="-6"/>
            <a:alphaOff val="0"/>
          </a:schemeClr>
        </a:solidFill>
        <a:ln w="25400" cap="flat" cmpd="sng" algn="ctr">
          <a:solidFill>
            <a:schemeClr val="accent2">
              <a:tint val="40000"/>
              <a:alpha val="90000"/>
              <a:hueOff val="5025821"/>
              <a:satOff val="-4378"/>
              <a:lumOff val="-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89061" tIns="232042" rIns="189061" bIns="232042" numCol="1" spcCol="1270" anchor="ctr" anchorCtr="0">
          <a:noAutofit/>
        </a:bodyPr>
        <a:lstStyle/>
        <a:p>
          <a:pPr marL="0" lvl="0" indent="0" algn="l" defTabSz="622300">
            <a:lnSpc>
              <a:spcPct val="90000"/>
            </a:lnSpc>
            <a:spcBef>
              <a:spcPct val="0"/>
            </a:spcBef>
            <a:spcAft>
              <a:spcPct val="35000"/>
            </a:spcAft>
            <a:buNone/>
          </a:pPr>
          <a:r>
            <a:rPr lang="en-US" sz="1400" b="0" i="0" kern="1200" dirty="0"/>
            <a:t>systems integrate multiple NLG methods, such as template-based, rule-based, statistical, or deep learning approaches, to achieve more robust and versatile text generation capabilities.</a:t>
          </a:r>
          <a:endParaRPr lang="en-IN" sz="1400" kern="1200" dirty="0"/>
        </a:p>
      </dsp:txBody>
      <dsp:txXfrm>
        <a:off x="2436006" y="3875541"/>
        <a:ext cx="9744024" cy="913551"/>
      </dsp:txXfrm>
    </dsp:sp>
    <dsp:sp modelId="{5D0D56EE-9DF4-494D-811A-0B9CFBEBE92C}">
      <dsp:nvSpPr>
        <dsp:cNvPr id="0" name=""/>
        <dsp:cNvSpPr/>
      </dsp:nvSpPr>
      <dsp:spPr>
        <a:xfrm>
          <a:off x="0" y="3875541"/>
          <a:ext cx="2436006" cy="913551"/>
        </a:xfrm>
        <a:prstGeom prst="rect">
          <a:avLst/>
        </a:prstGeom>
        <a:solidFill>
          <a:schemeClr val="accent2">
            <a:hueOff val="4681519"/>
            <a:satOff val="-5839"/>
            <a:lumOff val="1373"/>
            <a:alphaOff val="0"/>
          </a:schemeClr>
        </a:solidFill>
        <a:ln w="25400" cap="flat" cmpd="sng" algn="ctr">
          <a:solidFill>
            <a:schemeClr val="accent2">
              <a:hueOff val="4681519"/>
              <a:satOff val="-5839"/>
              <a:lumOff val="137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905" tIns="90239" rIns="128905" bIns="90239" numCol="1" spcCol="1270" anchor="ctr" anchorCtr="0">
          <a:noAutofit/>
        </a:bodyPr>
        <a:lstStyle/>
        <a:p>
          <a:pPr marL="0" lvl="0" indent="0" algn="ctr" defTabSz="889000">
            <a:lnSpc>
              <a:spcPct val="90000"/>
            </a:lnSpc>
            <a:spcBef>
              <a:spcPct val="0"/>
            </a:spcBef>
            <a:spcAft>
              <a:spcPct val="35000"/>
            </a:spcAft>
            <a:buNone/>
          </a:pPr>
          <a:r>
            <a:rPr lang="en-US" sz="2000" kern="1200" dirty="0"/>
            <a:t>Hybrid NLG</a:t>
          </a:r>
          <a:endParaRPr lang="en-IN" sz="2000" kern="1200" dirty="0"/>
        </a:p>
      </dsp:txBody>
      <dsp:txXfrm>
        <a:off x="0" y="3875541"/>
        <a:ext cx="2436006" cy="91355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2DAB12-E312-4FC8-A30E-08F1FDC90194}">
      <dsp:nvSpPr>
        <dsp:cNvPr id="0" name=""/>
        <dsp:cNvSpPr/>
      </dsp:nvSpPr>
      <dsp:spPr>
        <a:xfrm>
          <a:off x="309364" y="384"/>
          <a:ext cx="2082686" cy="1249611"/>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a:t>NLTK</a:t>
          </a:r>
        </a:p>
      </dsp:txBody>
      <dsp:txXfrm>
        <a:off x="309364" y="384"/>
        <a:ext cx="2082686" cy="1249611"/>
      </dsp:txXfrm>
    </dsp:sp>
    <dsp:sp modelId="{E4035C84-917A-4CA3-8F09-245C7F3D2F83}">
      <dsp:nvSpPr>
        <dsp:cNvPr id="0" name=""/>
        <dsp:cNvSpPr/>
      </dsp:nvSpPr>
      <dsp:spPr>
        <a:xfrm>
          <a:off x="2600319" y="384"/>
          <a:ext cx="2082686" cy="1249611"/>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a:t>Spacy</a:t>
          </a:r>
        </a:p>
      </dsp:txBody>
      <dsp:txXfrm>
        <a:off x="2600319" y="384"/>
        <a:ext cx="2082686" cy="1249611"/>
      </dsp:txXfrm>
    </dsp:sp>
    <dsp:sp modelId="{EF190867-2E2D-45D0-8936-7219D49B33B1}">
      <dsp:nvSpPr>
        <dsp:cNvPr id="0" name=""/>
        <dsp:cNvSpPr/>
      </dsp:nvSpPr>
      <dsp:spPr>
        <a:xfrm>
          <a:off x="4891274" y="384"/>
          <a:ext cx="2082686" cy="1249611"/>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a:t>Gensim</a:t>
          </a:r>
          <a:endParaRPr lang="en-IN" sz="2700" kern="1200" dirty="0"/>
        </a:p>
      </dsp:txBody>
      <dsp:txXfrm>
        <a:off x="4891274" y="384"/>
        <a:ext cx="2082686" cy="1249611"/>
      </dsp:txXfrm>
    </dsp:sp>
    <dsp:sp modelId="{4D41492D-3C3A-4623-BD40-3BBFEADE7671}">
      <dsp:nvSpPr>
        <dsp:cNvPr id="0" name=""/>
        <dsp:cNvSpPr/>
      </dsp:nvSpPr>
      <dsp:spPr>
        <a:xfrm>
          <a:off x="2579554" y="1466728"/>
          <a:ext cx="2082686" cy="1249611"/>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a:t>Core NLP</a:t>
          </a:r>
        </a:p>
      </dsp:txBody>
      <dsp:txXfrm>
        <a:off x="2579554" y="1466728"/>
        <a:ext cx="2082686" cy="1249611"/>
      </dsp:txXfrm>
    </dsp:sp>
    <dsp:sp modelId="{528600E6-DAC4-4473-83DF-A89874E18728}">
      <dsp:nvSpPr>
        <dsp:cNvPr id="0" name=""/>
        <dsp:cNvSpPr/>
      </dsp:nvSpPr>
      <dsp:spPr>
        <a:xfrm>
          <a:off x="309364" y="1458264"/>
          <a:ext cx="2082686" cy="1249611"/>
        </a:xfrm>
        <a:prstGeom prst="rect">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err="1"/>
            <a:t>AllenNLP</a:t>
          </a:r>
          <a:endParaRPr lang="en-IN" sz="2700" kern="1200" dirty="0"/>
        </a:p>
      </dsp:txBody>
      <dsp:txXfrm>
        <a:off x="309364" y="1458264"/>
        <a:ext cx="2082686" cy="1249611"/>
      </dsp:txXfrm>
    </dsp:sp>
    <dsp:sp modelId="{FBFA4FCA-8C49-48E6-AB30-E6E6F3899044}">
      <dsp:nvSpPr>
        <dsp:cNvPr id="0" name=""/>
        <dsp:cNvSpPr/>
      </dsp:nvSpPr>
      <dsp:spPr>
        <a:xfrm>
          <a:off x="7202993" y="0"/>
          <a:ext cx="2082686" cy="1249611"/>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err="1"/>
            <a:t>TextBlob</a:t>
          </a:r>
          <a:endParaRPr lang="en-IN" sz="2700" kern="1200" dirty="0"/>
        </a:p>
      </dsp:txBody>
      <dsp:txXfrm>
        <a:off x="7202993" y="0"/>
        <a:ext cx="2082686" cy="1249611"/>
      </dsp:txXfrm>
    </dsp:sp>
    <dsp:sp modelId="{9DEBFDAF-1C71-432A-B40E-48A2E6FFC3B2}">
      <dsp:nvSpPr>
        <dsp:cNvPr id="0" name=""/>
        <dsp:cNvSpPr/>
      </dsp:nvSpPr>
      <dsp:spPr>
        <a:xfrm>
          <a:off x="4891274" y="1458264"/>
          <a:ext cx="2082686" cy="1249611"/>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b="1" i="0" kern="1200" dirty="0" err="1"/>
            <a:t>OpenNLP</a:t>
          </a:r>
          <a:endParaRPr lang="en-IN" sz="2700" kern="1200" dirty="0"/>
        </a:p>
      </dsp:txBody>
      <dsp:txXfrm>
        <a:off x="4891274" y="1458264"/>
        <a:ext cx="2082686" cy="1249611"/>
      </dsp:txXfrm>
    </dsp:sp>
    <dsp:sp modelId="{A9A60F75-365B-483E-981A-AF94B8E78582}">
      <dsp:nvSpPr>
        <dsp:cNvPr id="0" name=""/>
        <dsp:cNvSpPr/>
      </dsp:nvSpPr>
      <dsp:spPr>
        <a:xfrm>
          <a:off x="7182229" y="1458264"/>
          <a:ext cx="2082686" cy="1249611"/>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b="1" i="0" kern="1200" dirty="0"/>
            <a:t>Spark NLP</a:t>
          </a:r>
          <a:endParaRPr lang="en-IN" sz="2700" kern="1200" dirty="0"/>
        </a:p>
      </dsp:txBody>
      <dsp:txXfrm>
        <a:off x="7182229" y="1458264"/>
        <a:ext cx="2082686" cy="1249611"/>
      </dsp:txXfrm>
    </dsp:sp>
    <dsp:sp modelId="{C1EC1FD7-9E01-431A-B237-847CBBF61B6E}">
      <dsp:nvSpPr>
        <dsp:cNvPr id="0" name=""/>
        <dsp:cNvSpPr/>
      </dsp:nvSpPr>
      <dsp:spPr>
        <a:xfrm>
          <a:off x="309364" y="2916145"/>
          <a:ext cx="2082686" cy="1249611"/>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a:t>Flair</a:t>
          </a:r>
        </a:p>
      </dsp:txBody>
      <dsp:txXfrm>
        <a:off x="309364" y="2916145"/>
        <a:ext cx="2082686" cy="1249611"/>
      </dsp:txXfrm>
    </dsp:sp>
    <dsp:sp modelId="{80C7CD7B-9D9C-430D-B8A8-08AA08FBFC19}">
      <dsp:nvSpPr>
        <dsp:cNvPr id="0" name=""/>
        <dsp:cNvSpPr/>
      </dsp:nvSpPr>
      <dsp:spPr>
        <a:xfrm>
          <a:off x="2600319" y="2916145"/>
          <a:ext cx="2082686" cy="1249611"/>
        </a:xfrm>
        <a:prstGeom prst="rect">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IN" sz="2700" kern="1200" dirty="0" err="1"/>
            <a:t>HuggingFace</a:t>
          </a:r>
          <a:endParaRPr lang="en-IN" sz="2700" kern="1200" dirty="0"/>
        </a:p>
      </dsp:txBody>
      <dsp:txXfrm>
        <a:off x="2600319" y="2916145"/>
        <a:ext cx="2082686" cy="1249611"/>
      </dsp:txXfrm>
    </dsp:sp>
    <dsp:sp modelId="{B8F754A5-0562-4300-A5AD-5C9D91DA69FE}">
      <dsp:nvSpPr>
        <dsp:cNvPr id="0" name=""/>
        <dsp:cNvSpPr/>
      </dsp:nvSpPr>
      <dsp:spPr>
        <a:xfrm>
          <a:off x="4967479" y="2801843"/>
          <a:ext cx="2082686" cy="1249611"/>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err="1"/>
            <a:t>Langchain</a:t>
          </a:r>
          <a:endParaRPr lang="en-IN" sz="2700" kern="1200" dirty="0"/>
        </a:p>
      </dsp:txBody>
      <dsp:txXfrm>
        <a:off x="4967479" y="2801843"/>
        <a:ext cx="2082686" cy="1249611"/>
      </dsp:txXfrm>
    </dsp:sp>
    <dsp:sp modelId="{BCF506C7-C145-41AA-8B9F-B2B276FE3E5E}">
      <dsp:nvSpPr>
        <dsp:cNvPr id="0" name=""/>
        <dsp:cNvSpPr/>
      </dsp:nvSpPr>
      <dsp:spPr>
        <a:xfrm>
          <a:off x="7258434" y="2801843"/>
          <a:ext cx="2082686" cy="1249611"/>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err="1"/>
            <a:t>llamaindex</a:t>
          </a:r>
          <a:endParaRPr lang="en-IN" sz="2700" kern="1200" dirty="0"/>
        </a:p>
      </dsp:txBody>
      <dsp:txXfrm>
        <a:off x="7258434" y="2801843"/>
        <a:ext cx="2082686" cy="1249611"/>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176C29-8540-4270-8A21-D657E7AAC9D2}" type="datetimeFigureOut">
              <a:rPr lang="en-IN" smtClean="0"/>
              <a:t>23-10-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445FDA-A3F3-4B75-9AA4-5AD0528D7202}" type="slidenum">
              <a:rPr lang="en-IN" smtClean="0"/>
              <a:t>‹#›</a:t>
            </a:fld>
            <a:endParaRPr lang="en-IN"/>
          </a:p>
        </p:txBody>
      </p:sp>
    </p:spTree>
    <p:extLst>
      <p:ext uri="{BB962C8B-B14F-4D97-AF65-F5344CB8AC3E}">
        <p14:creationId xmlns:p14="http://schemas.microsoft.com/office/powerpoint/2010/main" val="2884845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a:t>
            </a:fld>
            <a:endParaRPr lang="en-IN"/>
          </a:p>
        </p:txBody>
      </p:sp>
    </p:spTree>
    <p:extLst>
      <p:ext uri="{BB962C8B-B14F-4D97-AF65-F5344CB8AC3E}">
        <p14:creationId xmlns:p14="http://schemas.microsoft.com/office/powerpoint/2010/main" val="3059290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8</a:t>
            </a:fld>
            <a:endParaRPr lang="en-IN"/>
          </a:p>
        </p:txBody>
      </p:sp>
    </p:spTree>
    <p:extLst>
      <p:ext uri="{BB962C8B-B14F-4D97-AF65-F5344CB8AC3E}">
        <p14:creationId xmlns:p14="http://schemas.microsoft.com/office/powerpoint/2010/main" val="1544410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9</a:t>
            </a:fld>
            <a:endParaRPr lang="en-IN"/>
          </a:p>
        </p:txBody>
      </p:sp>
    </p:spTree>
    <p:extLst>
      <p:ext uri="{BB962C8B-B14F-4D97-AF65-F5344CB8AC3E}">
        <p14:creationId xmlns:p14="http://schemas.microsoft.com/office/powerpoint/2010/main" val="1331106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21C2D"/>
                </a:solidFill>
                <a:effectLst/>
                <a:latin typeface="Whitney SSm A"/>
              </a:rPr>
              <a:t>Lexical:</a:t>
            </a:r>
          </a:p>
          <a:p>
            <a:pPr algn="l"/>
            <a:r>
              <a:rPr lang="en-US" b="0" i="0" dirty="0">
                <a:solidFill>
                  <a:srgbClr val="121C2D"/>
                </a:solidFill>
                <a:effectLst/>
                <a:latin typeface="Whitney SSm A"/>
              </a:rPr>
              <a:t>There are 2 types of morphemes:</a:t>
            </a:r>
          </a:p>
          <a:p>
            <a:pPr algn="l">
              <a:buFont typeface="Arial" panose="020B0604020202020204" pitchFamily="34" charset="0"/>
              <a:buChar char="•"/>
            </a:pPr>
            <a:r>
              <a:rPr lang="en-US" b="1" i="0" dirty="0">
                <a:solidFill>
                  <a:srgbClr val="121C2D"/>
                </a:solidFill>
                <a:effectLst/>
                <a:latin typeface="Whitney SSm A"/>
              </a:rPr>
              <a:t>Free morphemes</a:t>
            </a:r>
            <a:r>
              <a:rPr lang="en-US" b="0" i="0" dirty="0">
                <a:solidFill>
                  <a:srgbClr val="121C2D"/>
                </a:solidFill>
                <a:effectLst/>
                <a:latin typeface="Whitney SSm A"/>
              </a:rPr>
              <a:t> function independently as words (like “cow” and “house”).</a:t>
            </a:r>
          </a:p>
          <a:p>
            <a:pPr algn="l">
              <a:buFont typeface="Arial" panose="020B0604020202020204" pitchFamily="34" charset="0"/>
              <a:buChar char="•"/>
            </a:pPr>
            <a:r>
              <a:rPr lang="en-US" b="1" i="0" dirty="0">
                <a:solidFill>
                  <a:srgbClr val="121C2D"/>
                </a:solidFill>
                <a:effectLst/>
                <a:latin typeface="Whitney SSm A"/>
              </a:rPr>
              <a:t>Bound morphemes</a:t>
            </a:r>
            <a:r>
              <a:rPr lang="en-US" b="0" i="0" dirty="0">
                <a:solidFill>
                  <a:srgbClr val="121C2D"/>
                </a:solidFill>
                <a:effectLst/>
                <a:latin typeface="Whitney SSm A"/>
              </a:rPr>
              <a:t> make up larger words. The word “unimaginable” contains the morphemes “un-” (a bound morpheme signifying a negative context), “imagine” (the free morpheme root of the whole word), and “-able” (a bound morpheme denoting the root morpheme’s ability to end).</a:t>
            </a:r>
          </a:p>
          <a:p>
            <a:pPr algn="l">
              <a:buFont typeface="Arial" panose="020B0604020202020204" pitchFamily="34" charset="0"/>
              <a:buChar char="•"/>
            </a:pPr>
            <a:endParaRPr lang="en-US" b="0" i="0" dirty="0">
              <a:solidFill>
                <a:srgbClr val="121C2D"/>
              </a:solidFill>
              <a:effectLst/>
              <a:latin typeface="Whitney SSm A"/>
            </a:endParaRPr>
          </a:p>
          <a:p>
            <a:pPr algn="l">
              <a:buFont typeface="Arial" panose="020B0604020202020204" pitchFamily="34" charset="0"/>
              <a:buChar char="•"/>
            </a:pPr>
            <a:r>
              <a:rPr lang="en-US" b="0" i="0" dirty="0" err="1">
                <a:solidFill>
                  <a:srgbClr val="121C2D"/>
                </a:solidFill>
                <a:effectLst/>
                <a:latin typeface="Whitney SSm A"/>
              </a:rPr>
              <a:t>Syntatic</a:t>
            </a:r>
            <a:r>
              <a:rPr lang="en-US" b="0" i="0" dirty="0">
                <a:solidFill>
                  <a:srgbClr val="121C2D"/>
                </a:solidFill>
                <a:effectLst/>
                <a:latin typeface="Whitney SSm A"/>
              </a:rPr>
              <a:t>:</a:t>
            </a:r>
          </a:p>
          <a:p>
            <a:pPr algn="l">
              <a:buFont typeface="Arial" panose="020B0604020202020204" pitchFamily="34" charset="0"/>
              <a:buNone/>
            </a:pPr>
            <a:r>
              <a:rPr lang="en-US" b="0" i="0" dirty="0">
                <a:solidFill>
                  <a:srgbClr val="121C2D"/>
                </a:solidFill>
                <a:effectLst/>
                <a:latin typeface="Whitney SSm A"/>
              </a:rPr>
              <a:t> Uma wrote the paper -&gt; Syntactically Correct</a:t>
            </a:r>
          </a:p>
          <a:p>
            <a:pPr algn="l">
              <a:buFont typeface="Arial" panose="020B0604020202020204" pitchFamily="34" charset="0"/>
              <a:buNone/>
            </a:pPr>
            <a:r>
              <a:rPr lang="en-US" b="0" i="0" dirty="0">
                <a:solidFill>
                  <a:srgbClr val="121C2D"/>
                </a:solidFill>
                <a:effectLst/>
                <a:latin typeface="Whitney SSm A"/>
              </a:rPr>
              <a:t>Uma do speaks -&gt; Syntactically in correct</a:t>
            </a:r>
          </a:p>
          <a:p>
            <a:pPr algn="l">
              <a:buFont typeface="Arial" panose="020B0604020202020204" pitchFamily="34" charset="0"/>
              <a:buNone/>
            </a:pPr>
            <a:endParaRPr lang="en-US" b="0" i="0" dirty="0">
              <a:solidFill>
                <a:srgbClr val="121C2D"/>
              </a:solidFill>
              <a:effectLst/>
              <a:latin typeface="Whitney SSm A"/>
            </a:endParaRPr>
          </a:p>
          <a:p>
            <a:pPr algn="l">
              <a:buFont typeface="Arial" panose="020B0604020202020204" pitchFamily="34" charset="0"/>
              <a:buNone/>
            </a:pPr>
            <a:r>
              <a:rPr lang="en-US" b="0" i="0" dirty="0">
                <a:solidFill>
                  <a:srgbClr val="121C2D"/>
                </a:solidFill>
                <a:effectLst/>
                <a:latin typeface="Whitney SSm A"/>
              </a:rPr>
              <a:t>Semantic </a:t>
            </a:r>
          </a:p>
          <a:p>
            <a:r>
              <a:rPr lang="en-IN" dirty="0"/>
              <a:t> Coimbatore Calls out to Uma -&gt; Syntactically Correct</a:t>
            </a:r>
          </a:p>
          <a:p>
            <a:r>
              <a:rPr lang="en-IN" dirty="0"/>
              <a:t>But not Semantically</a:t>
            </a:r>
          </a:p>
          <a:p>
            <a:r>
              <a:rPr lang="en-US" b="0" i="0" dirty="0">
                <a:solidFill>
                  <a:srgbClr val="121C2D"/>
                </a:solidFill>
                <a:effectLst/>
                <a:latin typeface="Whitney SSm A"/>
              </a:rPr>
              <a:t>Because Coimbatore is a place (and can’t literally call out to people), the sentence’s meaning doesn’t make sense.</a:t>
            </a:r>
          </a:p>
          <a:p>
            <a:endParaRPr lang="en-US" b="0" i="0" dirty="0">
              <a:solidFill>
                <a:srgbClr val="121C2D"/>
              </a:solidFill>
              <a:effectLst/>
              <a:latin typeface="Whitney SSm A"/>
            </a:endParaRPr>
          </a:p>
          <a:p>
            <a:r>
              <a:rPr lang="en-US" b="0" i="0" dirty="0">
                <a:solidFill>
                  <a:srgbClr val="121C2D"/>
                </a:solidFill>
                <a:effectLst/>
                <a:latin typeface="Whitney SSm A"/>
              </a:rPr>
              <a:t>Discourse:</a:t>
            </a:r>
          </a:p>
          <a:p>
            <a:pPr marL="228600" indent="-228600">
              <a:buAutoNum type="alphaUcPeriod"/>
            </a:pPr>
            <a:r>
              <a:rPr lang="en-US" b="0" i="0" dirty="0">
                <a:solidFill>
                  <a:srgbClr val="121C2D"/>
                </a:solidFill>
                <a:effectLst/>
                <a:latin typeface="Whitney SSm A"/>
              </a:rPr>
              <a:t>R Rehman sings  a song. That is amazing . Here the word that depends on the context of the previous sentence.</a:t>
            </a:r>
          </a:p>
          <a:p>
            <a:pPr marL="228600" indent="-228600">
              <a:buAutoNum type="alphaUcPeriod"/>
            </a:pPr>
            <a:endParaRPr lang="en-US" b="0" i="0" dirty="0">
              <a:solidFill>
                <a:srgbClr val="121C2D"/>
              </a:solidFill>
              <a:effectLst/>
              <a:latin typeface="Whitney SSm A"/>
            </a:endParaRPr>
          </a:p>
          <a:p>
            <a:pPr marL="0" indent="0">
              <a:buNone/>
            </a:pPr>
            <a:r>
              <a:rPr lang="en-US" b="0" i="0" dirty="0">
                <a:solidFill>
                  <a:srgbClr val="121C2D"/>
                </a:solidFill>
                <a:effectLst/>
                <a:latin typeface="Whitney SSm A"/>
              </a:rPr>
              <a:t>Pragmatic”</a:t>
            </a:r>
          </a:p>
          <a:p>
            <a:pPr marL="0" indent="0">
              <a:buNone/>
            </a:pPr>
            <a:r>
              <a:rPr lang="en-US" b="0" i="0" dirty="0">
                <a:solidFill>
                  <a:srgbClr val="121C2D"/>
                </a:solidFill>
                <a:effectLst/>
                <a:latin typeface="Whitney SSm A"/>
              </a:rPr>
              <a:t>What a great customer service it sucks</a:t>
            </a:r>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0</a:t>
            </a:fld>
            <a:endParaRPr lang="en-IN"/>
          </a:p>
        </p:txBody>
      </p:sp>
    </p:spTree>
    <p:extLst>
      <p:ext uri="{BB962C8B-B14F-4D97-AF65-F5344CB8AC3E}">
        <p14:creationId xmlns:p14="http://schemas.microsoft.com/office/powerpoint/2010/main" val="4022287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dirty="0">
                <a:solidFill>
                  <a:srgbClr val="0D0D0D"/>
                </a:solidFill>
                <a:effectLst/>
                <a:highlight>
                  <a:srgbClr val="FFFFFF"/>
                </a:highlight>
                <a:latin typeface="Söhne"/>
              </a:rPr>
              <a:t>Ambiguity</a:t>
            </a:r>
            <a:r>
              <a:rPr lang="en-US" b="0" i="0" dirty="0">
                <a:solidFill>
                  <a:srgbClr val="0D0D0D"/>
                </a:solidFill>
                <a:effectLst/>
                <a:highlight>
                  <a:srgbClr val="FFFFFF"/>
                </a:highlight>
                <a:latin typeface="Söhne"/>
              </a:rPr>
              <a:t>: Language is inherently ambiguous, with words and phrases often having multiple meanings depending on context. This ambiguity can pose challenges for tasks such as word sense disambiguation, semantic analysis, and understanding user intent.</a:t>
            </a:r>
          </a:p>
          <a:p>
            <a:pPr algn="l">
              <a:buFont typeface="+mj-lt"/>
              <a:buAutoNum type="arabicPeriod"/>
            </a:pPr>
            <a:r>
              <a:rPr lang="en-US" b="1" i="0" dirty="0">
                <a:solidFill>
                  <a:srgbClr val="0D0D0D"/>
                </a:solidFill>
                <a:effectLst/>
                <a:highlight>
                  <a:srgbClr val="FFFFFF"/>
                </a:highlight>
                <a:latin typeface="Söhne"/>
              </a:rPr>
              <a:t>Variability</a:t>
            </a:r>
            <a:r>
              <a:rPr lang="en-US" b="0" i="0" dirty="0">
                <a:solidFill>
                  <a:srgbClr val="0D0D0D"/>
                </a:solidFill>
                <a:effectLst/>
                <a:highlight>
                  <a:srgbClr val="FFFFFF"/>
                </a:highlight>
                <a:latin typeface="Söhne"/>
              </a:rPr>
              <a:t>: Language use varies widely across different contexts, regions, and social groups. Variability in vocabulary, grammar, dialects, slang, and cultural nuances can make it challenging to develop NLP models that generalize well across diverse linguistic environments.</a:t>
            </a:r>
          </a:p>
          <a:p>
            <a:pPr algn="l">
              <a:buFont typeface="+mj-lt"/>
              <a:buAutoNum type="arabicPeriod"/>
            </a:pPr>
            <a:r>
              <a:rPr lang="en-US" b="1" i="0" dirty="0">
                <a:solidFill>
                  <a:srgbClr val="0D0D0D"/>
                </a:solidFill>
                <a:effectLst/>
                <a:highlight>
                  <a:srgbClr val="FFFFFF"/>
                </a:highlight>
                <a:latin typeface="Söhne"/>
              </a:rPr>
              <a:t>Syntax and Grammar</a:t>
            </a:r>
            <a:r>
              <a:rPr lang="en-US" b="0" i="0" dirty="0">
                <a:solidFill>
                  <a:srgbClr val="0D0D0D"/>
                </a:solidFill>
                <a:effectLst/>
                <a:highlight>
                  <a:srgbClr val="FFFFFF"/>
                </a:highlight>
                <a:latin typeface="Söhne"/>
              </a:rPr>
              <a:t>: Parsing and understanding the syntactic and grammatical structure of sentences is a fundamental challenge in NLP. Sentences can have complex structures, and understanding their syntax requires dealing with phenomena such as recursion, coordination, ellipsis, and agreement.</a:t>
            </a:r>
          </a:p>
          <a:p>
            <a:pPr algn="l">
              <a:buFont typeface="+mj-lt"/>
              <a:buAutoNum type="arabicPeriod"/>
            </a:pPr>
            <a:r>
              <a:rPr lang="en-US" b="1" i="0" dirty="0">
                <a:solidFill>
                  <a:srgbClr val="0D0D0D"/>
                </a:solidFill>
                <a:effectLst/>
                <a:highlight>
                  <a:srgbClr val="FFFFFF"/>
                </a:highlight>
                <a:latin typeface="Söhne"/>
              </a:rPr>
              <a:t>Context Dependency</a:t>
            </a:r>
            <a:r>
              <a:rPr lang="en-US" b="0" i="0" dirty="0">
                <a:solidFill>
                  <a:srgbClr val="0D0D0D"/>
                </a:solidFill>
                <a:effectLst/>
                <a:highlight>
                  <a:srgbClr val="FFFFFF"/>
                </a:highlight>
                <a:latin typeface="Söhne"/>
              </a:rPr>
              <a:t>: The meaning of words and sentences often depends on the surrounding context. Resolving context dependency is crucial for tasks such as coreference resolution, discourse analysis, and sentiment analysis, but it can be challenging, especially in complex or ambiguous contexts.</a:t>
            </a:r>
          </a:p>
          <a:p>
            <a:pPr algn="l">
              <a:buFont typeface="+mj-lt"/>
              <a:buAutoNum type="arabicPeriod"/>
            </a:pPr>
            <a:r>
              <a:rPr lang="en-US" b="1" i="0" dirty="0">
                <a:solidFill>
                  <a:srgbClr val="0D0D0D"/>
                </a:solidFill>
                <a:effectLst/>
                <a:highlight>
                  <a:srgbClr val="FFFFFF"/>
                </a:highlight>
                <a:latin typeface="Söhne"/>
              </a:rPr>
              <a:t>Lack of Data</a:t>
            </a:r>
            <a:r>
              <a:rPr lang="en-US" b="0" i="0" dirty="0">
                <a:solidFill>
                  <a:srgbClr val="0D0D0D"/>
                </a:solidFill>
                <a:effectLst/>
                <a:highlight>
                  <a:srgbClr val="FFFFFF"/>
                </a:highlight>
                <a:latin typeface="Söhne"/>
              </a:rPr>
              <a:t>: NLP models typically require large amounts of annotated data for training, but obtaining high-quality labeled data can be costly and time-consuming, especially for tasks requiring domain-specific knowledge or fine-grained annotations.</a:t>
            </a:r>
          </a:p>
          <a:p>
            <a:pPr algn="l">
              <a:buFont typeface="+mj-lt"/>
              <a:buAutoNum type="arabicPeriod"/>
            </a:pPr>
            <a:r>
              <a:rPr lang="en-US" b="1" i="0" dirty="0">
                <a:solidFill>
                  <a:srgbClr val="0D0D0D"/>
                </a:solidFill>
                <a:effectLst/>
                <a:highlight>
                  <a:srgbClr val="FFFFFF"/>
                </a:highlight>
                <a:latin typeface="Söhne"/>
              </a:rPr>
              <a:t>Domain Specificity</a:t>
            </a:r>
            <a:r>
              <a:rPr lang="en-US" b="0" i="0" dirty="0">
                <a:solidFill>
                  <a:srgbClr val="0D0D0D"/>
                </a:solidFill>
                <a:effectLst/>
                <a:highlight>
                  <a:srgbClr val="FFFFFF"/>
                </a:highlight>
                <a:latin typeface="Söhne"/>
              </a:rPr>
              <a:t>: Language use varies across different domains (e.g., healthcare, legal, finance), and NLP models trained on general-purpose data may not perform well in domain-specific applications. Adapting NLP models to specific domains often requires domain-specific knowledge and data.</a:t>
            </a:r>
          </a:p>
          <a:p>
            <a:pPr algn="l">
              <a:buFont typeface="+mj-lt"/>
              <a:buAutoNum type="arabicPeriod"/>
            </a:pPr>
            <a:r>
              <a:rPr lang="en-US" b="1" i="0" dirty="0">
                <a:solidFill>
                  <a:srgbClr val="0D0D0D"/>
                </a:solidFill>
                <a:effectLst/>
                <a:highlight>
                  <a:srgbClr val="FFFFFF"/>
                </a:highlight>
                <a:latin typeface="Söhne"/>
              </a:rPr>
              <a:t>Ethical and Bias Issues</a:t>
            </a:r>
            <a:r>
              <a:rPr lang="en-US" b="0" i="0" dirty="0">
                <a:solidFill>
                  <a:srgbClr val="0D0D0D"/>
                </a:solidFill>
                <a:effectLst/>
                <a:highlight>
                  <a:srgbClr val="FFFFFF"/>
                </a:highlight>
                <a:latin typeface="Söhne"/>
              </a:rPr>
              <a:t>: NLP models can inadvertently perpetuate or amplify biases present in the training data, leading to unfair or discriminatory outcomes. Addressing ethical concerns and mitigating bias in NLP systems is an ongoing challenge for the field.</a:t>
            </a:r>
          </a:p>
          <a:p>
            <a:pPr algn="l">
              <a:buFont typeface="+mj-lt"/>
              <a:buAutoNum type="arabicPeriod"/>
            </a:pPr>
            <a:r>
              <a:rPr lang="en-US" b="1" i="0" dirty="0">
                <a:solidFill>
                  <a:srgbClr val="0D0D0D"/>
                </a:solidFill>
                <a:effectLst/>
                <a:highlight>
                  <a:srgbClr val="FFFFFF"/>
                </a:highlight>
                <a:latin typeface="Söhne"/>
              </a:rPr>
              <a:t>Multimodality</a:t>
            </a:r>
            <a:r>
              <a:rPr lang="en-US" b="0" i="0" dirty="0">
                <a:solidFill>
                  <a:srgbClr val="0D0D0D"/>
                </a:solidFill>
                <a:effectLst/>
                <a:highlight>
                  <a:srgbClr val="FFFFFF"/>
                </a:highlight>
                <a:latin typeface="Söhne"/>
              </a:rPr>
              <a:t>: With the increasing availability of multimodal data (e.g., text, images, audio), integrating information from multiple modalities poses new challenges for NLP. Developing models that effectively combine information from different modalities while preserving their complementary nature is a complex task.</a:t>
            </a:r>
          </a:p>
          <a:p>
            <a:pPr algn="l">
              <a:buFont typeface="+mj-lt"/>
              <a:buAutoNum type="arabicPeriod"/>
            </a:pPr>
            <a:r>
              <a:rPr lang="en-US" b="1" i="0" dirty="0">
                <a:solidFill>
                  <a:srgbClr val="0D0D0D"/>
                </a:solidFill>
                <a:effectLst/>
                <a:highlight>
                  <a:srgbClr val="FFFFFF"/>
                </a:highlight>
                <a:latin typeface="Söhne"/>
              </a:rPr>
              <a:t>Evaluation Metrics</a:t>
            </a:r>
            <a:r>
              <a:rPr lang="en-US" b="0" i="0" dirty="0">
                <a:solidFill>
                  <a:srgbClr val="0D0D0D"/>
                </a:solidFill>
                <a:effectLst/>
                <a:highlight>
                  <a:srgbClr val="FFFFFF"/>
                </a:highlight>
                <a:latin typeface="Söhne"/>
              </a:rPr>
              <a:t>: Choosing appropriate evaluation metrics for NLP tasks is challenging due to the subjective nature of language understanding and generation. Designing evaluation benchmarks that capture the nuances and complexities of human language remains an ongoing challenge.</a:t>
            </a:r>
          </a:p>
          <a:p>
            <a:pPr algn="l"/>
            <a:r>
              <a:rPr lang="en-US" b="0" i="0" dirty="0">
                <a:solidFill>
                  <a:srgbClr val="0D0D0D"/>
                </a:solidFill>
                <a:effectLst/>
                <a:highlight>
                  <a:srgbClr val="FFFFFF"/>
                </a:highlight>
                <a:latin typeface="Söhne"/>
              </a:rPr>
              <a:t>Addressing these challenges requires interdisciplinary approaches that combine insights from linguistics, cognitive science, computer science, and other fields. Advancements in NLP algorithms, d</a:t>
            </a:r>
          </a:p>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1</a:t>
            </a:fld>
            <a:endParaRPr lang="en-IN"/>
          </a:p>
        </p:txBody>
      </p:sp>
    </p:spTree>
    <p:extLst>
      <p:ext uri="{BB962C8B-B14F-4D97-AF65-F5344CB8AC3E}">
        <p14:creationId xmlns:p14="http://schemas.microsoft.com/office/powerpoint/2010/main" val="2770218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0000"/>
              </a:lnSpc>
            </a:pPr>
            <a:r>
              <a:rPr lang="en-US" b="0" i="0" dirty="0">
                <a:solidFill>
                  <a:srgbClr val="0D0D0D"/>
                </a:solidFill>
                <a:effectLst/>
                <a:highlight>
                  <a:srgbClr val="FFFFFF"/>
                </a:highlight>
                <a:latin typeface="Söhne"/>
              </a:rPr>
              <a:t>Lexical ambiguity occurs when a word or phrase has multiple meanings or interpretations based on its lexical (dictionary) definition.</a:t>
            </a:r>
          </a:p>
          <a:p>
            <a:pPr lvl="0">
              <a:lnSpc>
                <a:spcPct val="100000"/>
              </a:lnSpc>
            </a:pPr>
            <a:r>
              <a:rPr lang="en-US" dirty="0"/>
              <a:t>The bank is closed </a:t>
            </a:r>
          </a:p>
          <a:p>
            <a:pPr lvl="1"/>
            <a:r>
              <a:rPr lang="en-IN" dirty="0"/>
              <a:t>bank </a:t>
            </a:r>
            <a:r>
              <a:rPr lang="en-IN" dirty="0">
                <a:sym typeface="Wingdings" panose="05000000000000000000" pitchFamily="2" charset="2"/>
              </a:rPr>
              <a:t></a:t>
            </a:r>
            <a:r>
              <a:rPr lang="en-IN" dirty="0"/>
              <a:t> river bank ? Or financial institute?</a:t>
            </a:r>
          </a:p>
          <a:p>
            <a:pPr lvl="0">
              <a:lnSpc>
                <a:spcPct val="100000"/>
              </a:lnSpc>
            </a:pPr>
            <a:endParaRPr lang="en-US" dirty="0"/>
          </a:p>
          <a:p>
            <a:pPr lvl="0">
              <a:lnSpc>
                <a:spcPct val="100000"/>
              </a:lnSpc>
            </a:pPr>
            <a:r>
              <a:rPr lang="en-US" dirty="0"/>
              <a:t>Syntactic Ambiguity presence of two or more possible meanings within a single sentence or sequence of words</a:t>
            </a:r>
          </a:p>
          <a:p>
            <a:pPr lvl="0">
              <a:lnSpc>
                <a:spcPct val="100000"/>
              </a:lnSpc>
            </a:pPr>
            <a:r>
              <a:rPr lang="en-US" dirty="0"/>
              <a:t>The chicken is ready to eat</a:t>
            </a:r>
          </a:p>
          <a:p>
            <a:pPr lvl="1"/>
            <a:r>
              <a:rPr lang="en-IN" dirty="0"/>
              <a:t>Whether chicken is cooked and ready to be eaten or the chickens are ready to be fed?</a:t>
            </a:r>
            <a:endParaRPr lang="en-US" dirty="0"/>
          </a:p>
          <a:p>
            <a:pPr lvl="0">
              <a:lnSpc>
                <a:spcPct val="100000"/>
              </a:lnSpc>
            </a:pPr>
            <a:endParaRPr lang="en-US" dirty="0"/>
          </a:p>
          <a:p>
            <a:pPr lvl="0">
              <a:lnSpc>
                <a:spcPct val="100000"/>
              </a:lnSpc>
            </a:pPr>
            <a:r>
              <a:rPr lang="en-US" b="0" i="0" dirty="0">
                <a:solidFill>
                  <a:srgbClr val="0D0D0D"/>
                </a:solidFill>
                <a:effectLst/>
                <a:highlight>
                  <a:srgbClr val="FFFFFF"/>
                </a:highlight>
                <a:latin typeface="Söhne"/>
              </a:rPr>
              <a:t>Semantic ambiguity occurs when a word or phrase has multiple interpretations or meanings based on the context in which it is used. </a:t>
            </a:r>
            <a:endParaRPr lang="en-US" dirty="0"/>
          </a:p>
          <a:p>
            <a:pPr lvl="0">
              <a:lnSpc>
                <a:spcPct val="100000"/>
              </a:lnSpc>
            </a:pPr>
            <a:endParaRPr lang="en-US" dirty="0"/>
          </a:p>
          <a:p>
            <a:pPr lvl="1"/>
            <a:r>
              <a:rPr lang="en-US" b="0" i="0" dirty="0">
                <a:solidFill>
                  <a:srgbClr val="0D0D0D"/>
                </a:solidFill>
                <a:effectLst/>
                <a:highlight>
                  <a:srgbClr val="FFFFFF"/>
                </a:highlight>
                <a:latin typeface="Söhne"/>
              </a:rPr>
              <a:t>She saw the man with glasses</a:t>
            </a:r>
          </a:p>
          <a:p>
            <a:pPr lvl="1"/>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phoric Ambiguity: </a:t>
            </a:r>
            <a:r>
              <a:rPr lang="en-US" b="0" i="0" dirty="0">
                <a:solidFill>
                  <a:srgbClr val="0D0D0D"/>
                </a:solidFill>
                <a:effectLst/>
                <a:highlight>
                  <a:srgbClr val="FFFFFF"/>
                </a:highlight>
                <a:latin typeface="Söhne"/>
              </a:rPr>
              <a:t>Anaphoric ambiguity occurs when a pronoun or a word refers back to a previous noun or phrase in the text, but the reference is unclear or ambiguous</a:t>
            </a:r>
            <a:endParaRPr lang="en-IN" dirty="0"/>
          </a:p>
          <a:p>
            <a:pPr lvl="1"/>
            <a:r>
              <a:rPr lang="en-US" b="0" i="0" dirty="0">
                <a:solidFill>
                  <a:srgbClr val="0D0D0D"/>
                </a:solidFill>
                <a:effectLst/>
                <a:highlight>
                  <a:srgbClr val="FFFFFF"/>
                </a:highlight>
                <a:latin typeface="Söhne"/>
              </a:rPr>
              <a:t>John told Mark that he should finish the project by Friday he ??? John or Mark????</a:t>
            </a:r>
            <a:endParaRPr lang="en-IN" dirty="0"/>
          </a:p>
          <a:p>
            <a:pPr lvl="0">
              <a:lnSpc>
                <a:spcPct val="100000"/>
              </a:lnSpc>
            </a:pPr>
            <a:endParaRPr lang="en-US" dirty="0"/>
          </a:p>
          <a:p>
            <a:pPr lvl="0">
              <a:lnSpc>
                <a:spcPct val="100000"/>
              </a:lnSpc>
            </a:pPr>
            <a:endParaRPr lang="en-US" dirty="0"/>
          </a:p>
          <a:p>
            <a:pPr lvl="0">
              <a:lnSpc>
                <a:spcPct val="100000"/>
              </a:lnSpc>
            </a:pPr>
            <a:r>
              <a:rPr lang="en-US" b="0" i="0" dirty="0">
                <a:solidFill>
                  <a:srgbClr val="0D0D0D"/>
                </a:solidFill>
                <a:effectLst/>
                <a:highlight>
                  <a:srgbClr val="FFFFFF"/>
                </a:highlight>
                <a:latin typeface="Söhne"/>
              </a:rPr>
              <a:t>Pragmatic ambiguity, also known as contextual ambiguity or conversational ambiguity, occurs when the intended meaning of a statement is unclear due to factors such as the speaker's tone, non-verbal cues, or the context of the conversation.</a:t>
            </a:r>
            <a:endParaRPr lang="en-US" dirty="0"/>
          </a:p>
          <a:p>
            <a:pPr lvl="0">
              <a:lnSpc>
                <a:spcPct val="100000"/>
              </a:lnSpc>
            </a:pPr>
            <a:r>
              <a:rPr lang="en-US" dirty="0"/>
              <a:t>Do you know what time is it?</a:t>
            </a:r>
          </a:p>
          <a:p>
            <a:pPr lvl="0">
              <a:lnSpc>
                <a:spcPct val="100000"/>
              </a:lnSpc>
            </a:pPr>
            <a:r>
              <a:rPr lang="en-IN" dirty="0"/>
              <a:t>Semantic (literal meaning) asking for the current time</a:t>
            </a:r>
            <a:endParaRPr lang="en-US" dirty="0"/>
          </a:p>
          <a:p>
            <a:pPr lvl="0">
              <a:lnSpc>
                <a:spcPct val="100000"/>
              </a:lnSpc>
            </a:pPr>
            <a:r>
              <a:rPr lang="en-IN" dirty="0"/>
              <a:t>Other meanings(pragmatic meanings) </a:t>
            </a:r>
            <a:r>
              <a:rPr lang="en-US" dirty="0"/>
              <a:t>Expressing anger to someone who missed the due time or something</a:t>
            </a:r>
          </a:p>
          <a:p>
            <a:pPr lvl="1"/>
            <a:endParaRPr lang="en-US" dirty="0"/>
          </a:p>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2</a:t>
            </a:fld>
            <a:endParaRPr lang="en-IN"/>
          </a:p>
        </p:txBody>
      </p:sp>
    </p:spTree>
    <p:extLst>
      <p:ext uri="{BB962C8B-B14F-4D97-AF65-F5344CB8AC3E}">
        <p14:creationId xmlns:p14="http://schemas.microsoft.com/office/powerpoint/2010/main" val="3368113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D0D0D"/>
                </a:solidFill>
                <a:effectLst/>
                <a:highlight>
                  <a:srgbClr val="FFFFFF"/>
                </a:highlight>
                <a:latin typeface="Söhne"/>
              </a:rPr>
              <a:t>1.Content determination </a:t>
            </a:r>
            <a:r>
              <a:rPr lang="en-US" b="0" i="0" dirty="0">
                <a:solidFill>
                  <a:srgbClr val="0D0D0D"/>
                </a:solidFill>
                <a:effectLst/>
                <a:highlight>
                  <a:srgbClr val="FFFFFF"/>
                </a:highlight>
                <a:latin typeface="Söhne"/>
              </a:rPr>
              <a:t>in NLG refers to the process of deciding what information needs to be conveyed in the generated text and in what order. This stage involves analyzing the input data or instructions and determining the key points or messages that should be included in the output text. Content determination is crucial for ensuring that the generated text is relevant, informative, and effectively communicates the intended message.</a:t>
            </a:r>
          </a:p>
          <a:p>
            <a:r>
              <a:rPr lang="en-US" b="1" i="0" dirty="0">
                <a:solidFill>
                  <a:srgbClr val="0D0D0D"/>
                </a:solidFill>
                <a:effectLst/>
                <a:highlight>
                  <a:srgbClr val="FFFFFF"/>
                </a:highlight>
                <a:latin typeface="Söhne"/>
              </a:rPr>
              <a:t>2. "Data Interpretation" </a:t>
            </a:r>
            <a:r>
              <a:rPr lang="en-US" b="0" i="0" dirty="0">
                <a:solidFill>
                  <a:srgbClr val="0D0D0D"/>
                </a:solidFill>
                <a:effectLst/>
                <a:highlight>
                  <a:srgbClr val="FFFFFF"/>
                </a:highlight>
                <a:latin typeface="Söhne"/>
              </a:rPr>
              <a:t>stage in Natural Language Generation (NLG) refers to the process of analyzing and understanding the input data that will be used to generate natural language text . This stage involves transforming raw data into meaningful information that can  be expressed in human-readable languag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rgbClr val="000000"/>
                </a:solidFill>
                <a:effectLst/>
                <a:highlight>
                  <a:srgbClr val="FFFFFF"/>
                </a:highlight>
                <a:latin typeface="Source Sans Pro" panose="020B0503030403020204" pitchFamily="34" charset="0"/>
              </a:rPr>
              <a:t>3. Document planning </a:t>
            </a:r>
            <a:r>
              <a:rPr lang="en-US" b="0" i="0" dirty="0">
                <a:solidFill>
                  <a:srgbClr val="0D0D0D"/>
                </a:solidFill>
                <a:effectLst/>
                <a:highlight>
                  <a:srgbClr val="FFFFFF"/>
                </a:highlight>
                <a:latin typeface="Söhne"/>
              </a:rPr>
              <a:t>is a crucial stage where the system decides how to organize and present the information to achieve the desired communicative goals effectively . This is Macro planning stage it involves </a:t>
            </a:r>
            <a:r>
              <a:rPr lang="en-IN" b="1" i="0" dirty="0">
                <a:solidFill>
                  <a:srgbClr val="0D0D0D"/>
                </a:solidFill>
                <a:effectLst/>
                <a:highlight>
                  <a:srgbClr val="FFFFFF"/>
                </a:highlight>
                <a:latin typeface="Söhne"/>
              </a:rPr>
              <a:t>Structural Organization, Textual Cohesion, Audience Adaptation, Document Goal overall </a:t>
            </a:r>
            <a:r>
              <a:rPr lang="en-US" b="0" i="0" dirty="0">
                <a:solidFill>
                  <a:srgbClr val="0D0D0D"/>
                </a:solidFill>
                <a:effectLst/>
                <a:highlight>
                  <a:srgbClr val="FFFFFF"/>
                </a:highlight>
                <a:latin typeface="Söhne"/>
              </a:rPr>
              <a:t>The structure and content of the document should align with its intended purpose and audi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0D0D0D"/>
                </a:solidFill>
                <a:effectLst/>
                <a:highlight>
                  <a:srgbClr val="FFFFFF"/>
                </a:highlight>
                <a:latin typeface="Söhne"/>
              </a:rPr>
              <a:t>4.Sentence Aggregation: </a:t>
            </a:r>
            <a:r>
              <a:rPr lang="en-US" b="0" i="0" dirty="0">
                <a:solidFill>
                  <a:srgbClr val="0D0D0D"/>
                </a:solidFill>
                <a:effectLst/>
                <a:highlight>
                  <a:srgbClr val="FFFFFF"/>
                </a:highlight>
                <a:latin typeface="Söhne"/>
              </a:rPr>
              <a:t>Sentence aggregation in Natural Language Generation (NLG) refers to the process of combining multiple sentences or clauses into a single, more concise and coherent sentence. This technique is often used to improve readability, reduce redundancy, and enhance the overall fluency of generated tex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highlight>
                  <a:srgbClr val="FFFFFF"/>
                </a:highlight>
                <a:latin typeface="Söhne"/>
              </a:rPr>
              <a:t>5. "</a:t>
            </a:r>
            <a:r>
              <a:rPr lang="en-US" b="1" i="0" dirty="0">
                <a:solidFill>
                  <a:srgbClr val="0D0D0D"/>
                </a:solidFill>
                <a:effectLst/>
                <a:highlight>
                  <a:srgbClr val="FFFFFF"/>
                </a:highlight>
                <a:latin typeface="Söhne"/>
              </a:rPr>
              <a:t>grammaticalization</a:t>
            </a:r>
            <a:r>
              <a:rPr lang="en-US" b="0" i="0" dirty="0">
                <a:solidFill>
                  <a:srgbClr val="0D0D0D"/>
                </a:solidFill>
                <a:effectLst/>
                <a:highlight>
                  <a:srgbClr val="FFFFFF"/>
                </a:highlight>
                <a:latin typeface="Söhne"/>
              </a:rPr>
              <a:t>" refers to the process of generating grammatically correct sentences or text based on underlying rules or structures of a language. It involves transforming semantic representations or abstract structures into well-formed linguistic expressions that adhere to the grammatical rules and conventions of the target langu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D0D0D"/>
                </a:solidFill>
                <a:effectLst/>
                <a:highlight>
                  <a:srgbClr val="FFFFFF"/>
                </a:highlight>
                <a:latin typeface="Söhne"/>
              </a:rPr>
              <a:t>6.</a:t>
            </a:r>
            <a:r>
              <a:rPr lang="en-IN" b="1" i="0" dirty="0">
                <a:solidFill>
                  <a:srgbClr val="000000"/>
                </a:solidFill>
                <a:effectLst/>
                <a:highlight>
                  <a:srgbClr val="FFFFFF"/>
                </a:highlight>
                <a:latin typeface="Source Sans Pro" panose="020B0503030403020204" pitchFamily="34" charset="0"/>
              </a:rPr>
              <a:t> Language Implementation </a:t>
            </a:r>
            <a:r>
              <a:rPr lang="en-US" b="0" i="0" dirty="0">
                <a:solidFill>
                  <a:srgbClr val="000000"/>
                </a:solidFill>
                <a:effectLst/>
                <a:highlight>
                  <a:srgbClr val="FFFFFF"/>
                </a:highlight>
                <a:latin typeface="Source Sans Pro" panose="020B0503030403020204" pitchFamily="34" charset="0"/>
              </a:rPr>
              <a:t>This stage involves inputting data into templates and ensuring that the document is output in the right format and according to the preferences of the user. </a:t>
            </a:r>
            <a:endParaRPr lang="en-IN" b="1" i="0" dirty="0">
              <a:solidFill>
                <a:srgbClr val="000000"/>
              </a:solidFill>
              <a:effectLst/>
              <a:highlight>
                <a:srgbClr val="FFFFFF"/>
              </a:highligh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0D0D0D"/>
              </a:solidFill>
              <a:effectLst/>
              <a:highlight>
                <a:srgbClr val="FFFFFF"/>
              </a:highligh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b="1" i="0" dirty="0">
              <a:solidFill>
                <a:srgbClr val="000000"/>
              </a:solidFill>
              <a:effectLst/>
              <a:highlight>
                <a:srgbClr val="FFFFFF"/>
              </a:highlight>
              <a:latin typeface="Source Sans Pro" panose="020B0503030403020204" pitchFamily="34" charset="0"/>
            </a:endParaRPr>
          </a:p>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4</a:t>
            </a:fld>
            <a:endParaRPr lang="en-IN"/>
          </a:p>
        </p:txBody>
      </p:sp>
    </p:spTree>
    <p:extLst>
      <p:ext uri="{BB962C8B-B14F-4D97-AF65-F5344CB8AC3E}">
        <p14:creationId xmlns:p14="http://schemas.microsoft.com/office/powerpoint/2010/main" val="4181179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istical NLG :</a:t>
            </a:r>
          </a:p>
          <a:p>
            <a:r>
              <a:rPr lang="en-IN" b="0" i="0" dirty="0">
                <a:solidFill>
                  <a:srgbClr val="0D0D0D"/>
                </a:solidFill>
                <a:effectLst/>
                <a:highlight>
                  <a:srgbClr val="FFFFFF"/>
                </a:highlight>
                <a:latin typeface="Söhne"/>
              </a:rPr>
              <a:t>statistical NLG system designed for generating product reviews </a:t>
            </a:r>
            <a:r>
              <a:rPr lang="en-US" b="0" i="0" dirty="0">
                <a:solidFill>
                  <a:srgbClr val="0D0D0D"/>
                </a:solidFill>
                <a:effectLst/>
                <a:highlight>
                  <a:srgbClr val="FFFFFF"/>
                </a:highlight>
                <a:latin typeface="Söhne"/>
              </a:rPr>
              <a:t>The system analyzes the training data, learning the statistical patterns of how words and phrases are used in product reviews. For example, it learns that positive reviews often contain words like "excellent," "amazing," or "highly recommend," while negative reviews may include words like "disappointing," "poor quality," or "not worth it.“</a:t>
            </a:r>
          </a:p>
          <a:p>
            <a:endParaRPr lang="en-US" b="0" i="0" dirty="0">
              <a:solidFill>
                <a:srgbClr val="0D0D0D"/>
              </a:solidFill>
              <a:effectLst/>
              <a:highlight>
                <a:srgbClr val="FFFFFF"/>
              </a:highlight>
              <a:latin typeface="Söhne"/>
            </a:endParaRPr>
          </a:p>
          <a:p>
            <a:r>
              <a:rPr lang="en-US" b="0" i="0" dirty="0">
                <a:solidFill>
                  <a:srgbClr val="0D0D0D"/>
                </a:solidFill>
                <a:effectLst/>
                <a:highlight>
                  <a:srgbClr val="FFFFFF"/>
                </a:highlight>
                <a:latin typeface="Söhne"/>
              </a:rPr>
              <a:t>In an n-gram statistical NLG system, the probability of the next word in a sequence is estimated based on the preceding n-1 words. These systems build probabilistic models from large text corpora, calculating the frequency of n-grams and their occurrences. By analyzing these frequencies, the system predicts the most likely next word given the context provided by the preceding words.</a:t>
            </a:r>
          </a:p>
          <a:p>
            <a:endParaRPr lang="en-US" b="0" i="0" dirty="0">
              <a:solidFill>
                <a:srgbClr val="0D0D0D"/>
              </a:solidFill>
              <a:effectLst/>
              <a:highlight>
                <a:srgbClr val="FFFFFF"/>
              </a:highlight>
              <a:latin typeface="Söhne"/>
            </a:endParaRPr>
          </a:p>
          <a:p>
            <a:r>
              <a:rPr lang="en-US" b="0" i="0" dirty="0">
                <a:solidFill>
                  <a:srgbClr val="0D0D0D"/>
                </a:solidFill>
                <a:effectLst/>
                <a:highlight>
                  <a:srgbClr val="FFFFFF"/>
                </a:highlight>
                <a:latin typeface="Söhne"/>
              </a:rPr>
              <a:t>In an HMM-based NLG system, the hidden states represent underlying linguistic structures or concepts, while observable events correspond to the words in the generated text. The model learns the probabilities of transitioning between hidden states and emitting observable events from each state.</a:t>
            </a:r>
          </a:p>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5</a:t>
            </a:fld>
            <a:endParaRPr lang="en-IN"/>
          </a:p>
        </p:txBody>
      </p:sp>
    </p:spTree>
    <p:extLst>
      <p:ext uri="{BB962C8B-B14F-4D97-AF65-F5344CB8AC3E}">
        <p14:creationId xmlns:p14="http://schemas.microsoft.com/office/powerpoint/2010/main" val="736894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5445FDA-A3F3-4B75-9AA4-5AD0528D7202}" type="slidenum">
              <a:rPr lang="en-IN" smtClean="0"/>
              <a:t>17</a:t>
            </a:fld>
            <a:endParaRPr lang="en-IN"/>
          </a:p>
        </p:txBody>
      </p:sp>
    </p:spTree>
    <p:extLst>
      <p:ext uri="{BB962C8B-B14F-4D97-AF65-F5344CB8AC3E}">
        <p14:creationId xmlns:p14="http://schemas.microsoft.com/office/powerpoint/2010/main" val="17562563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10/23/2024</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234375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209D40C-1047-4432-A856-2F295B8B1C5C}"/>
              </a:ext>
            </a:extLst>
          </p:cNvPr>
          <p:cNvSpPr>
            <a:spLocks noGrp="1"/>
          </p:cNvSpPr>
          <p:nvPr>
            <p:ph type="sldNum" sz="quarter" idx="12"/>
          </p:nvPr>
        </p:nvSpPr>
        <p:spPr/>
        <p:txBody>
          <a:bodyPr/>
          <a:lstStyle/>
          <a:p>
            <a:fld id="{44BB4D1C-FC86-4246-8A40-7E29DDB064D8}" type="slidenum">
              <a:rPr lang="en-US" smtClean="0"/>
              <a:pPr/>
              <a:t>‹#›</a:t>
            </a:fld>
            <a:endParaRPr lang="en-US" dirty="0"/>
          </a:p>
        </p:txBody>
      </p:sp>
      <p:cxnSp>
        <p:nvCxnSpPr>
          <p:cNvPr id="6" name="Straight Connector 5">
            <a:extLst>
              <a:ext uri="{FF2B5EF4-FFF2-40B4-BE49-F238E27FC236}">
                <a16:creationId xmlns:a16="http://schemas.microsoft.com/office/drawing/2014/main" id="{04C61A02-356A-47D1-B3A1-764F5F92440F}"/>
              </a:ext>
            </a:extLst>
          </p:cNvPr>
          <p:cNvCxnSpPr>
            <a:cxnSpLocks/>
          </p:cNvCxnSpPr>
          <p:nvPr userDrawn="1"/>
        </p:nvCxnSpPr>
        <p:spPr>
          <a:xfrm>
            <a:off x="842963" y="6229350"/>
            <a:ext cx="10506075" cy="0"/>
          </a:xfrm>
          <a:prstGeom prst="line">
            <a:avLst/>
          </a:prstGeom>
          <a:ln>
            <a:solidFill>
              <a:srgbClr val="2D2C3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50A2287-7774-4D8C-976D-95FEE7371155}"/>
              </a:ext>
            </a:extLst>
          </p:cNvPr>
          <p:cNvSpPr/>
          <p:nvPr userDrawn="1"/>
        </p:nvSpPr>
        <p:spPr>
          <a:xfrm>
            <a:off x="842963" y="6469663"/>
            <a:ext cx="1614223" cy="138499"/>
          </a:xfrm>
          <a:prstGeom prst="rect">
            <a:avLst/>
          </a:prstGeom>
        </p:spPr>
        <p:txBody>
          <a:bodyPr wrap="none" lIns="0" tIns="0" rIns="0" bIns="0" anchor="ctr">
            <a:spAutoFit/>
          </a:bodyPr>
          <a:lstStyle/>
          <a:p>
            <a:r>
              <a:rPr lang="en-US" sz="900" dirty="0"/>
              <a:t>COMPARISON PRESENTATION</a:t>
            </a:r>
          </a:p>
        </p:txBody>
      </p:sp>
    </p:spTree>
    <p:extLst>
      <p:ext uri="{BB962C8B-B14F-4D97-AF65-F5344CB8AC3E}">
        <p14:creationId xmlns:p14="http://schemas.microsoft.com/office/powerpoint/2010/main" val="2841365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1" cy="553998"/>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42481114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98828" y="435789"/>
            <a:ext cx="10594345" cy="283283"/>
          </a:xfrm>
        </p:spPr>
        <p:txBody>
          <a:bodyPr lIns="0" tIns="0" rIns="0" bIns="0"/>
          <a:lstStyle>
            <a:lvl1pPr>
              <a:defRPr sz="1841" b="1" i="0">
                <a:solidFill>
                  <a:srgbClr val="A79E90"/>
                </a:solidFill>
                <a:latin typeface="Arial" panose="020B0604020202020204"/>
                <a:cs typeface="Arial" panose="020B0604020202020204"/>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827853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98828" y="435789"/>
            <a:ext cx="10594345" cy="283283"/>
          </a:xfrm>
        </p:spPr>
        <p:txBody>
          <a:bodyPr lIns="0" tIns="0" rIns="0" bIns="0"/>
          <a:lstStyle>
            <a:lvl1pPr>
              <a:defRPr sz="1841" b="1" i="0">
                <a:solidFill>
                  <a:srgbClr val="A79E90"/>
                </a:solidFill>
                <a:latin typeface="Arial" panose="020B0604020202020204"/>
                <a:cs typeface="Arial" panose="020B0604020202020204"/>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014765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98828" y="435789"/>
            <a:ext cx="10594345" cy="283283"/>
          </a:xfrm>
        </p:spPr>
        <p:txBody>
          <a:bodyPr lIns="0" tIns="0" rIns="0" bIns="0"/>
          <a:lstStyle>
            <a:lvl1pPr>
              <a:defRPr sz="1841" b="1" i="0">
                <a:solidFill>
                  <a:srgbClr val="A79E90"/>
                </a:solidFill>
                <a:latin typeface="Arial" panose="020B0604020202020204"/>
                <a:cs typeface="Arial" panose="020B0604020202020204"/>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992193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138303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10/23/2024</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40465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10/23/2024</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62783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10/23/2024</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58835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10/23/2024</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63925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10/23/2024</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268543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10/23/2024</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33393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10/23/2024</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37711844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10/23/2024</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01613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fld id="{62D6E202-B606-4609-B914-27C9371A1F6D}" type="datetime1">
              <a:rPr lang="en-US" smtClean="0"/>
              <a:t>10/23/2024</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030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6" r:id="rId10"/>
  </p:sldLayoutIdLst>
  <p:hf sldNum="0" hdr="0" ftr="0" dt="0"/>
  <p:txStyles>
    <p:titleStyle>
      <a:lvl1pPr algn="l" defTabSz="914400" rtl="0" eaLnBrk="1" latinLnBrk="0" hangingPunct="1">
        <a:lnSpc>
          <a:spcPct val="90000"/>
        </a:lnSpc>
        <a:spcBef>
          <a:spcPct val="0"/>
        </a:spcBef>
        <a:buNone/>
        <a:defRPr sz="47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5402"/>
          </a:xfrm>
          <a:custGeom>
            <a:avLst/>
            <a:gdLst/>
            <a:ahLst/>
            <a:cxnLst/>
            <a:rect l="l" t="t" r="r" b="b"/>
            <a:pathLst>
              <a:path w="20104100" h="13406119">
                <a:moveTo>
                  <a:pt x="20104100" y="0"/>
                </a:moveTo>
                <a:lnTo>
                  <a:pt x="0" y="0"/>
                </a:lnTo>
                <a:lnTo>
                  <a:pt x="0" y="13405508"/>
                </a:lnTo>
                <a:lnTo>
                  <a:pt x="20104100" y="13405508"/>
                </a:lnTo>
                <a:lnTo>
                  <a:pt x="20104100" y="0"/>
                </a:lnTo>
                <a:close/>
              </a:path>
            </a:pathLst>
          </a:custGeom>
          <a:solidFill>
            <a:srgbClr val="FAF7F1"/>
          </a:solidFill>
        </p:spPr>
        <p:txBody>
          <a:bodyPr wrap="square" lIns="0" tIns="0" rIns="0" bIns="0" rtlCol="0"/>
          <a:lstStyle/>
          <a:p>
            <a:endParaRPr sz="921"/>
          </a:p>
        </p:txBody>
      </p:sp>
      <p:sp>
        <p:nvSpPr>
          <p:cNvPr id="17" name="bg object 17"/>
          <p:cNvSpPr/>
          <p:nvPr/>
        </p:nvSpPr>
        <p:spPr>
          <a:xfrm>
            <a:off x="1464016" y="2926166"/>
            <a:ext cx="1124082" cy="1017659"/>
          </a:xfrm>
          <a:custGeom>
            <a:avLst/>
            <a:gdLst/>
            <a:ahLst/>
            <a:cxnLst/>
            <a:rect l="l" t="t" r="r" b="b"/>
            <a:pathLst>
              <a:path w="1853564" h="1990090">
                <a:moveTo>
                  <a:pt x="926673" y="0"/>
                </a:moveTo>
                <a:lnTo>
                  <a:pt x="878986" y="1205"/>
                </a:lnTo>
                <a:lnTo>
                  <a:pt x="831925" y="4784"/>
                </a:lnTo>
                <a:lnTo>
                  <a:pt x="785549" y="10677"/>
                </a:lnTo>
                <a:lnTo>
                  <a:pt x="739915" y="18826"/>
                </a:lnTo>
                <a:lnTo>
                  <a:pt x="695082" y="29173"/>
                </a:lnTo>
                <a:lnTo>
                  <a:pt x="651107" y="41661"/>
                </a:lnTo>
                <a:lnTo>
                  <a:pt x="608050" y="56229"/>
                </a:lnTo>
                <a:lnTo>
                  <a:pt x="565968" y="72822"/>
                </a:lnTo>
                <a:lnTo>
                  <a:pt x="524920" y="91379"/>
                </a:lnTo>
                <a:lnTo>
                  <a:pt x="484964" y="111843"/>
                </a:lnTo>
                <a:lnTo>
                  <a:pt x="446158" y="134156"/>
                </a:lnTo>
                <a:lnTo>
                  <a:pt x="408560" y="158260"/>
                </a:lnTo>
                <a:lnTo>
                  <a:pt x="372228" y="184096"/>
                </a:lnTo>
                <a:lnTo>
                  <a:pt x="337221" y="211606"/>
                </a:lnTo>
                <a:lnTo>
                  <a:pt x="303597" y="240731"/>
                </a:lnTo>
                <a:lnTo>
                  <a:pt x="271415" y="271415"/>
                </a:lnTo>
                <a:lnTo>
                  <a:pt x="240731" y="303597"/>
                </a:lnTo>
                <a:lnTo>
                  <a:pt x="211606" y="337221"/>
                </a:lnTo>
                <a:lnTo>
                  <a:pt x="184096" y="372228"/>
                </a:lnTo>
                <a:lnTo>
                  <a:pt x="158260" y="408560"/>
                </a:lnTo>
                <a:lnTo>
                  <a:pt x="134156" y="446158"/>
                </a:lnTo>
                <a:lnTo>
                  <a:pt x="111843" y="484964"/>
                </a:lnTo>
                <a:lnTo>
                  <a:pt x="91379" y="524920"/>
                </a:lnTo>
                <a:lnTo>
                  <a:pt x="72822" y="565968"/>
                </a:lnTo>
                <a:lnTo>
                  <a:pt x="56229" y="608050"/>
                </a:lnTo>
                <a:lnTo>
                  <a:pt x="41661" y="651107"/>
                </a:lnTo>
                <a:lnTo>
                  <a:pt x="29173" y="695082"/>
                </a:lnTo>
                <a:lnTo>
                  <a:pt x="18826" y="739915"/>
                </a:lnTo>
                <a:lnTo>
                  <a:pt x="10677" y="785549"/>
                </a:lnTo>
                <a:lnTo>
                  <a:pt x="4784" y="831925"/>
                </a:lnTo>
                <a:lnTo>
                  <a:pt x="1205" y="878986"/>
                </a:lnTo>
                <a:lnTo>
                  <a:pt x="0" y="926673"/>
                </a:lnTo>
                <a:lnTo>
                  <a:pt x="0" y="1751177"/>
                </a:lnTo>
                <a:lnTo>
                  <a:pt x="4845" y="1799240"/>
                </a:lnTo>
                <a:lnTo>
                  <a:pt x="18740" y="1844005"/>
                </a:lnTo>
                <a:lnTo>
                  <a:pt x="40728" y="1884514"/>
                </a:lnTo>
                <a:lnTo>
                  <a:pt x="69848" y="1919808"/>
                </a:lnTo>
                <a:lnTo>
                  <a:pt x="105143" y="1948927"/>
                </a:lnTo>
                <a:lnTo>
                  <a:pt x="145651" y="1970914"/>
                </a:lnTo>
                <a:lnTo>
                  <a:pt x="190416" y="1984809"/>
                </a:lnTo>
                <a:lnTo>
                  <a:pt x="238477" y="1989654"/>
                </a:lnTo>
                <a:lnTo>
                  <a:pt x="1614869" y="1989654"/>
                </a:lnTo>
                <a:lnTo>
                  <a:pt x="1662930" y="1984809"/>
                </a:lnTo>
                <a:lnTo>
                  <a:pt x="1707694" y="1970914"/>
                </a:lnTo>
                <a:lnTo>
                  <a:pt x="1748203" y="1948927"/>
                </a:lnTo>
                <a:lnTo>
                  <a:pt x="1783497" y="1919808"/>
                </a:lnTo>
                <a:lnTo>
                  <a:pt x="1812618" y="1884514"/>
                </a:lnTo>
                <a:lnTo>
                  <a:pt x="1834605" y="1844005"/>
                </a:lnTo>
                <a:lnTo>
                  <a:pt x="1848501" y="1799240"/>
                </a:lnTo>
                <a:lnTo>
                  <a:pt x="1853346" y="1751177"/>
                </a:lnTo>
                <a:lnTo>
                  <a:pt x="1853346" y="926673"/>
                </a:lnTo>
                <a:lnTo>
                  <a:pt x="1852140" y="878986"/>
                </a:lnTo>
                <a:lnTo>
                  <a:pt x="1848562" y="831925"/>
                </a:lnTo>
                <a:lnTo>
                  <a:pt x="1842669" y="785549"/>
                </a:lnTo>
                <a:lnTo>
                  <a:pt x="1834519" y="739915"/>
                </a:lnTo>
                <a:lnTo>
                  <a:pt x="1824172" y="695082"/>
                </a:lnTo>
                <a:lnTo>
                  <a:pt x="1811684" y="651107"/>
                </a:lnTo>
                <a:lnTo>
                  <a:pt x="1797115" y="608050"/>
                </a:lnTo>
                <a:lnTo>
                  <a:pt x="1780523" y="565968"/>
                </a:lnTo>
                <a:lnTo>
                  <a:pt x="1761965" y="524920"/>
                </a:lnTo>
                <a:lnTo>
                  <a:pt x="1741501" y="484964"/>
                </a:lnTo>
                <a:lnTo>
                  <a:pt x="1719188" y="446158"/>
                </a:lnTo>
                <a:lnTo>
                  <a:pt x="1695084" y="408560"/>
                </a:lnTo>
                <a:lnTo>
                  <a:pt x="1669248" y="372228"/>
                </a:lnTo>
                <a:lnTo>
                  <a:pt x="1641738" y="337221"/>
                </a:lnTo>
                <a:lnTo>
                  <a:pt x="1612612" y="303597"/>
                </a:lnTo>
                <a:lnTo>
                  <a:pt x="1581928" y="271415"/>
                </a:lnTo>
                <a:lnTo>
                  <a:pt x="1549745" y="240731"/>
                </a:lnTo>
                <a:lnTo>
                  <a:pt x="1516121" y="211606"/>
                </a:lnTo>
                <a:lnTo>
                  <a:pt x="1481114" y="184096"/>
                </a:lnTo>
                <a:lnTo>
                  <a:pt x="1444783" y="158260"/>
                </a:lnTo>
                <a:lnTo>
                  <a:pt x="1407185" y="134156"/>
                </a:lnTo>
                <a:lnTo>
                  <a:pt x="1368378" y="111843"/>
                </a:lnTo>
                <a:lnTo>
                  <a:pt x="1328422" y="91379"/>
                </a:lnTo>
                <a:lnTo>
                  <a:pt x="1287374" y="72822"/>
                </a:lnTo>
                <a:lnTo>
                  <a:pt x="1245292" y="56229"/>
                </a:lnTo>
                <a:lnTo>
                  <a:pt x="1202235" y="41661"/>
                </a:lnTo>
                <a:lnTo>
                  <a:pt x="1158261" y="29173"/>
                </a:lnTo>
                <a:lnTo>
                  <a:pt x="1113429" y="18826"/>
                </a:lnTo>
                <a:lnTo>
                  <a:pt x="1067795" y="10677"/>
                </a:lnTo>
                <a:lnTo>
                  <a:pt x="1021419" y="4784"/>
                </a:lnTo>
                <a:lnTo>
                  <a:pt x="974359" y="1205"/>
                </a:lnTo>
                <a:lnTo>
                  <a:pt x="926673" y="0"/>
                </a:lnTo>
                <a:close/>
              </a:path>
            </a:pathLst>
          </a:custGeom>
          <a:solidFill>
            <a:srgbClr val="DCE3E5"/>
          </a:solidFill>
        </p:spPr>
        <p:txBody>
          <a:bodyPr wrap="square" lIns="0" tIns="0" rIns="0" bIns="0" rtlCol="0"/>
          <a:lstStyle/>
          <a:p>
            <a:endParaRPr sz="921"/>
          </a:p>
        </p:txBody>
      </p:sp>
      <p:sp>
        <p:nvSpPr>
          <p:cNvPr id="18" name="bg object 18"/>
          <p:cNvSpPr/>
          <p:nvPr/>
        </p:nvSpPr>
        <p:spPr>
          <a:xfrm>
            <a:off x="3157066" y="2535349"/>
            <a:ext cx="1124082" cy="1338479"/>
          </a:xfrm>
          <a:custGeom>
            <a:avLst/>
            <a:gdLst/>
            <a:ahLst/>
            <a:cxnLst/>
            <a:rect l="l" t="t" r="r" b="b"/>
            <a:pathLst>
              <a:path w="1853565" h="2617470">
                <a:moveTo>
                  <a:pt x="926673" y="0"/>
                </a:moveTo>
                <a:lnTo>
                  <a:pt x="878986" y="1205"/>
                </a:lnTo>
                <a:lnTo>
                  <a:pt x="831925" y="4784"/>
                </a:lnTo>
                <a:lnTo>
                  <a:pt x="785549" y="10677"/>
                </a:lnTo>
                <a:lnTo>
                  <a:pt x="739915" y="18826"/>
                </a:lnTo>
                <a:lnTo>
                  <a:pt x="695082" y="29173"/>
                </a:lnTo>
                <a:lnTo>
                  <a:pt x="651107" y="41661"/>
                </a:lnTo>
                <a:lnTo>
                  <a:pt x="608050" y="56229"/>
                </a:lnTo>
                <a:lnTo>
                  <a:pt x="565968" y="72822"/>
                </a:lnTo>
                <a:lnTo>
                  <a:pt x="524920" y="91379"/>
                </a:lnTo>
                <a:lnTo>
                  <a:pt x="484964" y="111843"/>
                </a:lnTo>
                <a:lnTo>
                  <a:pt x="446158" y="134156"/>
                </a:lnTo>
                <a:lnTo>
                  <a:pt x="408560" y="158260"/>
                </a:lnTo>
                <a:lnTo>
                  <a:pt x="372228" y="184096"/>
                </a:lnTo>
                <a:lnTo>
                  <a:pt x="337221" y="211606"/>
                </a:lnTo>
                <a:lnTo>
                  <a:pt x="303597" y="240731"/>
                </a:lnTo>
                <a:lnTo>
                  <a:pt x="271415" y="271415"/>
                </a:lnTo>
                <a:lnTo>
                  <a:pt x="240731" y="303597"/>
                </a:lnTo>
                <a:lnTo>
                  <a:pt x="211606" y="337221"/>
                </a:lnTo>
                <a:lnTo>
                  <a:pt x="184096" y="372228"/>
                </a:lnTo>
                <a:lnTo>
                  <a:pt x="158260" y="408560"/>
                </a:lnTo>
                <a:lnTo>
                  <a:pt x="134156" y="446158"/>
                </a:lnTo>
                <a:lnTo>
                  <a:pt x="111843" y="484964"/>
                </a:lnTo>
                <a:lnTo>
                  <a:pt x="91379" y="524920"/>
                </a:lnTo>
                <a:lnTo>
                  <a:pt x="72822" y="565968"/>
                </a:lnTo>
                <a:lnTo>
                  <a:pt x="56229" y="608050"/>
                </a:lnTo>
                <a:lnTo>
                  <a:pt x="41661" y="651107"/>
                </a:lnTo>
                <a:lnTo>
                  <a:pt x="29173" y="695082"/>
                </a:lnTo>
                <a:lnTo>
                  <a:pt x="18826" y="739915"/>
                </a:lnTo>
                <a:lnTo>
                  <a:pt x="10677" y="785549"/>
                </a:lnTo>
                <a:lnTo>
                  <a:pt x="4784" y="831925"/>
                </a:lnTo>
                <a:lnTo>
                  <a:pt x="1205" y="878986"/>
                </a:lnTo>
                <a:lnTo>
                  <a:pt x="0" y="926673"/>
                </a:lnTo>
                <a:lnTo>
                  <a:pt x="0" y="2378676"/>
                </a:lnTo>
                <a:lnTo>
                  <a:pt x="4845" y="2426739"/>
                </a:lnTo>
                <a:lnTo>
                  <a:pt x="18740" y="2471504"/>
                </a:lnTo>
                <a:lnTo>
                  <a:pt x="40728" y="2512013"/>
                </a:lnTo>
                <a:lnTo>
                  <a:pt x="69848" y="2547307"/>
                </a:lnTo>
                <a:lnTo>
                  <a:pt x="105143" y="2576426"/>
                </a:lnTo>
                <a:lnTo>
                  <a:pt x="145651" y="2598413"/>
                </a:lnTo>
                <a:lnTo>
                  <a:pt x="190416" y="2612308"/>
                </a:lnTo>
                <a:lnTo>
                  <a:pt x="238477" y="2617153"/>
                </a:lnTo>
                <a:lnTo>
                  <a:pt x="1614869" y="2617153"/>
                </a:lnTo>
                <a:lnTo>
                  <a:pt x="1662930" y="2612308"/>
                </a:lnTo>
                <a:lnTo>
                  <a:pt x="1707694" y="2598413"/>
                </a:lnTo>
                <a:lnTo>
                  <a:pt x="1748203" y="2576426"/>
                </a:lnTo>
                <a:lnTo>
                  <a:pt x="1783497" y="2547307"/>
                </a:lnTo>
                <a:lnTo>
                  <a:pt x="1812618" y="2512013"/>
                </a:lnTo>
                <a:lnTo>
                  <a:pt x="1834605" y="2471504"/>
                </a:lnTo>
                <a:lnTo>
                  <a:pt x="1848501" y="2426739"/>
                </a:lnTo>
                <a:lnTo>
                  <a:pt x="1853346" y="2378676"/>
                </a:lnTo>
                <a:lnTo>
                  <a:pt x="1853346" y="926673"/>
                </a:lnTo>
                <a:lnTo>
                  <a:pt x="1852140" y="878986"/>
                </a:lnTo>
                <a:lnTo>
                  <a:pt x="1848562" y="831925"/>
                </a:lnTo>
                <a:lnTo>
                  <a:pt x="1842669" y="785549"/>
                </a:lnTo>
                <a:lnTo>
                  <a:pt x="1834519" y="739915"/>
                </a:lnTo>
                <a:lnTo>
                  <a:pt x="1824172" y="695082"/>
                </a:lnTo>
                <a:lnTo>
                  <a:pt x="1811684" y="651107"/>
                </a:lnTo>
                <a:lnTo>
                  <a:pt x="1797115" y="608050"/>
                </a:lnTo>
                <a:lnTo>
                  <a:pt x="1780523" y="565968"/>
                </a:lnTo>
                <a:lnTo>
                  <a:pt x="1761965" y="524920"/>
                </a:lnTo>
                <a:lnTo>
                  <a:pt x="1741501" y="484964"/>
                </a:lnTo>
                <a:lnTo>
                  <a:pt x="1719188" y="446158"/>
                </a:lnTo>
                <a:lnTo>
                  <a:pt x="1695084" y="408560"/>
                </a:lnTo>
                <a:lnTo>
                  <a:pt x="1669248" y="372228"/>
                </a:lnTo>
                <a:lnTo>
                  <a:pt x="1641738" y="337221"/>
                </a:lnTo>
                <a:lnTo>
                  <a:pt x="1612612" y="303597"/>
                </a:lnTo>
                <a:lnTo>
                  <a:pt x="1581928" y="271415"/>
                </a:lnTo>
                <a:lnTo>
                  <a:pt x="1549745" y="240731"/>
                </a:lnTo>
                <a:lnTo>
                  <a:pt x="1516121" y="211606"/>
                </a:lnTo>
                <a:lnTo>
                  <a:pt x="1481114" y="184096"/>
                </a:lnTo>
                <a:lnTo>
                  <a:pt x="1444783" y="158260"/>
                </a:lnTo>
                <a:lnTo>
                  <a:pt x="1407185" y="134156"/>
                </a:lnTo>
                <a:lnTo>
                  <a:pt x="1368378" y="111843"/>
                </a:lnTo>
                <a:lnTo>
                  <a:pt x="1328422" y="91379"/>
                </a:lnTo>
                <a:lnTo>
                  <a:pt x="1287374" y="72822"/>
                </a:lnTo>
                <a:lnTo>
                  <a:pt x="1245292" y="56229"/>
                </a:lnTo>
                <a:lnTo>
                  <a:pt x="1202235" y="41661"/>
                </a:lnTo>
                <a:lnTo>
                  <a:pt x="1158261" y="29173"/>
                </a:lnTo>
                <a:lnTo>
                  <a:pt x="1113429" y="18826"/>
                </a:lnTo>
                <a:lnTo>
                  <a:pt x="1067795" y="10677"/>
                </a:lnTo>
                <a:lnTo>
                  <a:pt x="1021419" y="4784"/>
                </a:lnTo>
                <a:lnTo>
                  <a:pt x="974359" y="1205"/>
                </a:lnTo>
                <a:lnTo>
                  <a:pt x="926673" y="0"/>
                </a:lnTo>
                <a:close/>
              </a:path>
            </a:pathLst>
          </a:custGeom>
          <a:solidFill>
            <a:srgbClr val="CDEAEB"/>
          </a:solidFill>
        </p:spPr>
        <p:txBody>
          <a:bodyPr wrap="square" lIns="0" tIns="0" rIns="0" bIns="0" rtlCol="0"/>
          <a:lstStyle/>
          <a:p>
            <a:endParaRPr sz="921"/>
          </a:p>
        </p:txBody>
      </p:sp>
      <p:sp>
        <p:nvSpPr>
          <p:cNvPr id="19" name="bg object 19"/>
          <p:cNvSpPr/>
          <p:nvPr/>
        </p:nvSpPr>
        <p:spPr>
          <a:xfrm>
            <a:off x="4812363" y="2106379"/>
            <a:ext cx="1124082" cy="1665143"/>
          </a:xfrm>
          <a:custGeom>
            <a:avLst/>
            <a:gdLst/>
            <a:ahLst/>
            <a:cxnLst/>
            <a:rect l="l" t="t" r="r" b="b"/>
            <a:pathLst>
              <a:path w="1853565" h="3256279">
                <a:moveTo>
                  <a:pt x="926673" y="0"/>
                </a:moveTo>
                <a:lnTo>
                  <a:pt x="878986" y="1205"/>
                </a:lnTo>
                <a:lnTo>
                  <a:pt x="831925" y="4784"/>
                </a:lnTo>
                <a:lnTo>
                  <a:pt x="785549" y="10677"/>
                </a:lnTo>
                <a:lnTo>
                  <a:pt x="739915" y="18826"/>
                </a:lnTo>
                <a:lnTo>
                  <a:pt x="695082" y="29173"/>
                </a:lnTo>
                <a:lnTo>
                  <a:pt x="651107" y="41661"/>
                </a:lnTo>
                <a:lnTo>
                  <a:pt x="608050" y="56229"/>
                </a:lnTo>
                <a:lnTo>
                  <a:pt x="565968" y="72822"/>
                </a:lnTo>
                <a:lnTo>
                  <a:pt x="524920" y="91379"/>
                </a:lnTo>
                <a:lnTo>
                  <a:pt x="484964" y="111843"/>
                </a:lnTo>
                <a:lnTo>
                  <a:pt x="446158" y="134156"/>
                </a:lnTo>
                <a:lnTo>
                  <a:pt x="408560" y="158260"/>
                </a:lnTo>
                <a:lnTo>
                  <a:pt x="372228" y="184096"/>
                </a:lnTo>
                <a:lnTo>
                  <a:pt x="337221" y="211606"/>
                </a:lnTo>
                <a:lnTo>
                  <a:pt x="303597" y="240731"/>
                </a:lnTo>
                <a:lnTo>
                  <a:pt x="271415" y="271415"/>
                </a:lnTo>
                <a:lnTo>
                  <a:pt x="240731" y="303597"/>
                </a:lnTo>
                <a:lnTo>
                  <a:pt x="211606" y="337221"/>
                </a:lnTo>
                <a:lnTo>
                  <a:pt x="184096" y="372228"/>
                </a:lnTo>
                <a:lnTo>
                  <a:pt x="158260" y="408560"/>
                </a:lnTo>
                <a:lnTo>
                  <a:pt x="134156" y="446158"/>
                </a:lnTo>
                <a:lnTo>
                  <a:pt x="111843" y="484964"/>
                </a:lnTo>
                <a:lnTo>
                  <a:pt x="91379" y="524920"/>
                </a:lnTo>
                <a:lnTo>
                  <a:pt x="72822" y="565968"/>
                </a:lnTo>
                <a:lnTo>
                  <a:pt x="56229" y="608050"/>
                </a:lnTo>
                <a:lnTo>
                  <a:pt x="41661" y="651107"/>
                </a:lnTo>
                <a:lnTo>
                  <a:pt x="29173" y="695082"/>
                </a:lnTo>
                <a:lnTo>
                  <a:pt x="18826" y="739915"/>
                </a:lnTo>
                <a:lnTo>
                  <a:pt x="10677" y="785549"/>
                </a:lnTo>
                <a:lnTo>
                  <a:pt x="4784" y="831925"/>
                </a:lnTo>
                <a:lnTo>
                  <a:pt x="1205" y="878986"/>
                </a:lnTo>
                <a:lnTo>
                  <a:pt x="0" y="926673"/>
                </a:lnTo>
                <a:lnTo>
                  <a:pt x="0" y="3184434"/>
                </a:lnTo>
                <a:lnTo>
                  <a:pt x="4845" y="3224123"/>
                </a:lnTo>
                <a:lnTo>
                  <a:pt x="18740" y="3246812"/>
                </a:lnTo>
                <a:lnTo>
                  <a:pt x="40728" y="3256109"/>
                </a:lnTo>
                <a:lnTo>
                  <a:pt x="69848" y="3255623"/>
                </a:lnTo>
                <a:lnTo>
                  <a:pt x="105143" y="3248963"/>
                </a:lnTo>
                <a:lnTo>
                  <a:pt x="145651" y="3239738"/>
                </a:lnTo>
                <a:lnTo>
                  <a:pt x="190416" y="3231556"/>
                </a:lnTo>
                <a:lnTo>
                  <a:pt x="238477" y="3228027"/>
                </a:lnTo>
                <a:lnTo>
                  <a:pt x="1614869" y="3228027"/>
                </a:lnTo>
                <a:lnTo>
                  <a:pt x="1662930" y="3223182"/>
                </a:lnTo>
                <a:lnTo>
                  <a:pt x="1707694" y="3209286"/>
                </a:lnTo>
                <a:lnTo>
                  <a:pt x="1748203" y="3187298"/>
                </a:lnTo>
                <a:lnTo>
                  <a:pt x="1783497" y="3158178"/>
                </a:lnTo>
                <a:lnTo>
                  <a:pt x="1812618" y="3122884"/>
                </a:lnTo>
                <a:lnTo>
                  <a:pt x="1834605" y="3082375"/>
                </a:lnTo>
                <a:lnTo>
                  <a:pt x="1848501" y="3037611"/>
                </a:lnTo>
                <a:lnTo>
                  <a:pt x="1853346" y="2989550"/>
                </a:lnTo>
                <a:lnTo>
                  <a:pt x="1853346" y="926673"/>
                </a:lnTo>
                <a:lnTo>
                  <a:pt x="1852140" y="878986"/>
                </a:lnTo>
                <a:lnTo>
                  <a:pt x="1848562" y="831925"/>
                </a:lnTo>
                <a:lnTo>
                  <a:pt x="1842669" y="785549"/>
                </a:lnTo>
                <a:lnTo>
                  <a:pt x="1834519" y="739915"/>
                </a:lnTo>
                <a:lnTo>
                  <a:pt x="1824172" y="695082"/>
                </a:lnTo>
                <a:lnTo>
                  <a:pt x="1811684" y="651107"/>
                </a:lnTo>
                <a:lnTo>
                  <a:pt x="1797115" y="608050"/>
                </a:lnTo>
                <a:lnTo>
                  <a:pt x="1780523" y="565968"/>
                </a:lnTo>
                <a:lnTo>
                  <a:pt x="1761965" y="524920"/>
                </a:lnTo>
                <a:lnTo>
                  <a:pt x="1741501" y="484964"/>
                </a:lnTo>
                <a:lnTo>
                  <a:pt x="1719188" y="446158"/>
                </a:lnTo>
                <a:lnTo>
                  <a:pt x="1695084" y="408560"/>
                </a:lnTo>
                <a:lnTo>
                  <a:pt x="1669248" y="372228"/>
                </a:lnTo>
                <a:lnTo>
                  <a:pt x="1641738" y="337221"/>
                </a:lnTo>
                <a:lnTo>
                  <a:pt x="1612612" y="303597"/>
                </a:lnTo>
                <a:lnTo>
                  <a:pt x="1581928" y="271415"/>
                </a:lnTo>
                <a:lnTo>
                  <a:pt x="1549745" y="240731"/>
                </a:lnTo>
                <a:lnTo>
                  <a:pt x="1516121" y="211606"/>
                </a:lnTo>
                <a:lnTo>
                  <a:pt x="1481114" y="184096"/>
                </a:lnTo>
                <a:lnTo>
                  <a:pt x="1444783" y="158260"/>
                </a:lnTo>
                <a:lnTo>
                  <a:pt x="1407185" y="134156"/>
                </a:lnTo>
                <a:lnTo>
                  <a:pt x="1368378" y="111843"/>
                </a:lnTo>
                <a:lnTo>
                  <a:pt x="1328422" y="91379"/>
                </a:lnTo>
                <a:lnTo>
                  <a:pt x="1287374" y="72822"/>
                </a:lnTo>
                <a:lnTo>
                  <a:pt x="1245292" y="56229"/>
                </a:lnTo>
                <a:lnTo>
                  <a:pt x="1202235" y="41661"/>
                </a:lnTo>
                <a:lnTo>
                  <a:pt x="1158261" y="29173"/>
                </a:lnTo>
                <a:lnTo>
                  <a:pt x="1113429" y="18826"/>
                </a:lnTo>
                <a:lnTo>
                  <a:pt x="1067795" y="10677"/>
                </a:lnTo>
                <a:lnTo>
                  <a:pt x="1021419" y="4784"/>
                </a:lnTo>
                <a:lnTo>
                  <a:pt x="974359" y="1205"/>
                </a:lnTo>
                <a:lnTo>
                  <a:pt x="926673" y="0"/>
                </a:lnTo>
                <a:close/>
              </a:path>
            </a:pathLst>
          </a:custGeom>
          <a:solidFill>
            <a:srgbClr val="DBE9D9"/>
          </a:solidFill>
        </p:spPr>
        <p:txBody>
          <a:bodyPr wrap="square" lIns="0" tIns="0" rIns="0" bIns="0" rtlCol="0"/>
          <a:lstStyle/>
          <a:p>
            <a:endParaRPr sz="921"/>
          </a:p>
        </p:txBody>
      </p:sp>
      <p:sp>
        <p:nvSpPr>
          <p:cNvPr id="20" name="bg object 20"/>
          <p:cNvSpPr/>
          <p:nvPr/>
        </p:nvSpPr>
        <p:spPr>
          <a:xfrm>
            <a:off x="6467379" y="1734594"/>
            <a:ext cx="1124082" cy="1941151"/>
          </a:xfrm>
          <a:custGeom>
            <a:avLst/>
            <a:gdLst/>
            <a:ahLst/>
            <a:cxnLst/>
            <a:rect l="l" t="t" r="r" b="b"/>
            <a:pathLst>
              <a:path w="1853565" h="3796029">
                <a:moveTo>
                  <a:pt x="926673" y="0"/>
                </a:moveTo>
                <a:lnTo>
                  <a:pt x="880422" y="1234"/>
                </a:lnTo>
                <a:lnTo>
                  <a:pt x="834759" y="4899"/>
                </a:lnTo>
                <a:lnTo>
                  <a:pt x="789735" y="10938"/>
                </a:lnTo>
                <a:lnTo>
                  <a:pt x="745405" y="19291"/>
                </a:lnTo>
                <a:lnTo>
                  <a:pt x="701821" y="29902"/>
                </a:lnTo>
                <a:lnTo>
                  <a:pt x="659036" y="42712"/>
                </a:lnTo>
                <a:lnTo>
                  <a:pt x="617104" y="57664"/>
                </a:lnTo>
                <a:lnTo>
                  <a:pt x="576077" y="74700"/>
                </a:lnTo>
                <a:lnTo>
                  <a:pt x="536009" y="93762"/>
                </a:lnTo>
                <a:lnTo>
                  <a:pt x="496953" y="114793"/>
                </a:lnTo>
                <a:lnTo>
                  <a:pt x="458962" y="137734"/>
                </a:lnTo>
                <a:lnTo>
                  <a:pt x="422088" y="162528"/>
                </a:lnTo>
                <a:lnTo>
                  <a:pt x="386386" y="189116"/>
                </a:lnTo>
                <a:lnTo>
                  <a:pt x="351907" y="217442"/>
                </a:lnTo>
                <a:lnTo>
                  <a:pt x="318706" y="247447"/>
                </a:lnTo>
                <a:lnTo>
                  <a:pt x="286835" y="279074"/>
                </a:lnTo>
                <a:lnTo>
                  <a:pt x="256347" y="312265"/>
                </a:lnTo>
                <a:lnTo>
                  <a:pt x="227296" y="346961"/>
                </a:lnTo>
                <a:lnTo>
                  <a:pt x="199734" y="383106"/>
                </a:lnTo>
                <a:lnTo>
                  <a:pt x="173715" y="420641"/>
                </a:lnTo>
                <a:lnTo>
                  <a:pt x="149292" y="459509"/>
                </a:lnTo>
                <a:lnTo>
                  <a:pt x="126517" y="499652"/>
                </a:lnTo>
                <a:lnTo>
                  <a:pt x="105444" y="541011"/>
                </a:lnTo>
                <a:lnTo>
                  <a:pt x="86126" y="583530"/>
                </a:lnTo>
                <a:lnTo>
                  <a:pt x="68617" y="627150"/>
                </a:lnTo>
                <a:lnTo>
                  <a:pt x="52968" y="671813"/>
                </a:lnTo>
                <a:lnTo>
                  <a:pt x="39234" y="717463"/>
                </a:lnTo>
                <a:lnTo>
                  <a:pt x="27467" y="764040"/>
                </a:lnTo>
                <a:lnTo>
                  <a:pt x="17720" y="811488"/>
                </a:lnTo>
                <a:lnTo>
                  <a:pt x="10047" y="859748"/>
                </a:lnTo>
                <a:lnTo>
                  <a:pt x="4500" y="908763"/>
                </a:lnTo>
                <a:lnTo>
                  <a:pt x="1134" y="958474"/>
                </a:lnTo>
                <a:lnTo>
                  <a:pt x="0" y="1008825"/>
                </a:lnTo>
                <a:lnTo>
                  <a:pt x="0" y="3795449"/>
                </a:lnTo>
                <a:lnTo>
                  <a:pt x="1853346" y="3367978"/>
                </a:lnTo>
                <a:lnTo>
                  <a:pt x="1853346" y="1008825"/>
                </a:lnTo>
                <a:lnTo>
                  <a:pt x="1852212" y="958474"/>
                </a:lnTo>
                <a:lnTo>
                  <a:pt x="1848845" y="908763"/>
                </a:lnTo>
                <a:lnTo>
                  <a:pt x="1843299" y="859748"/>
                </a:lnTo>
                <a:lnTo>
                  <a:pt x="1835625" y="811488"/>
                </a:lnTo>
                <a:lnTo>
                  <a:pt x="1825879" y="764040"/>
                </a:lnTo>
                <a:lnTo>
                  <a:pt x="1814111" y="717463"/>
                </a:lnTo>
                <a:lnTo>
                  <a:pt x="1800377" y="671813"/>
                </a:lnTo>
                <a:lnTo>
                  <a:pt x="1784728" y="627150"/>
                </a:lnTo>
                <a:lnTo>
                  <a:pt x="1767218" y="583530"/>
                </a:lnTo>
                <a:lnTo>
                  <a:pt x="1747900" y="541011"/>
                </a:lnTo>
                <a:lnTo>
                  <a:pt x="1726827" y="499652"/>
                </a:lnTo>
                <a:lnTo>
                  <a:pt x="1704052" y="459509"/>
                </a:lnTo>
                <a:lnTo>
                  <a:pt x="1679629" y="420641"/>
                </a:lnTo>
                <a:lnTo>
                  <a:pt x="1653609" y="383106"/>
                </a:lnTo>
                <a:lnTo>
                  <a:pt x="1626047" y="346961"/>
                </a:lnTo>
                <a:lnTo>
                  <a:pt x="1596996" y="312265"/>
                </a:lnTo>
                <a:lnTo>
                  <a:pt x="1566508" y="279074"/>
                </a:lnTo>
                <a:lnTo>
                  <a:pt x="1534637" y="247447"/>
                </a:lnTo>
                <a:lnTo>
                  <a:pt x="1501435" y="217442"/>
                </a:lnTo>
                <a:lnTo>
                  <a:pt x="1466957" y="189116"/>
                </a:lnTo>
                <a:lnTo>
                  <a:pt x="1431254" y="162528"/>
                </a:lnTo>
                <a:lnTo>
                  <a:pt x="1394381" y="137734"/>
                </a:lnTo>
                <a:lnTo>
                  <a:pt x="1356389" y="114793"/>
                </a:lnTo>
                <a:lnTo>
                  <a:pt x="1317333" y="93762"/>
                </a:lnTo>
                <a:lnTo>
                  <a:pt x="1277265" y="74700"/>
                </a:lnTo>
                <a:lnTo>
                  <a:pt x="1236239" y="57664"/>
                </a:lnTo>
                <a:lnTo>
                  <a:pt x="1194307" y="42712"/>
                </a:lnTo>
                <a:lnTo>
                  <a:pt x="1151522" y="29902"/>
                </a:lnTo>
                <a:lnTo>
                  <a:pt x="1107939" y="19291"/>
                </a:lnTo>
                <a:lnTo>
                  <a:pt x="1063609" y="10938"/>
                </a:lnTo>
                <a:lnTo>
                  <a:pt x="1018586" y="4899"/>
                </a:lnTo>
                <a:lnTo>
                  <a:pt x="972923" y="1234"/>
                </a:lnTo>
                <a:lnTo>
                  <a:pt x="926673" y="0"/>
                </a:lnTo>
                <a:close/>
              </a:path>
            </a:pathLst>
          </a:custGeom>
          <a:solidFill>
            <a:srgbClr val="E2DEBF"/>
          </a:solidFill>
        </p:spPr>
        <p:txBody>
          <a:bodyPr wrap="square" lIns="0" tIns="0" rIns="0" bIns="0" rtlCol="0"/>
          <a:lstStyle/>
          <a:p>
            <a:endParaRPr sz="921"/>
          </a:p>
        </p:txBody>
      </p:sp>
      <p:sp>
        <p:nvSpPr>
          <p:cNvPr id="21" name="bg object 21"/>
          <p:cNvSpPr/>
          <p:nvPr/>
        </p:nvSpPr>
        <p:spPr>
          <a:xfrm>
            <a:off x="8129730" y="1229404"/>
            <a:ext cx="1124082" cy="2134357"/>
          </a:xfrm>
          <a:custGeom>
            <a:avLst/>
            <a:gdLst/>
            <a:ahLst/>
            <a:cxnLst/>
            <a:rect l="l" t="t" r="r" b="b"/>
            <a:pathLst>
              <a:path w="1853565" h="4173854">
                <a:moveTo>
                  <a:pt x="926673" y="0"/>
                </a:moveTo>
                <a:lnTo>
                  <a:pt x="880422" y="1234"/>
                </a:lnTo>
                <a:lnTo>
                  <a:pt x="834759" y="4899"/>
                </a:lnTo>
                <a:lnTo>
                  <a:pt x="789735" y="10938"/>
                </a:lnTo>
                <a:lnTo>
                  <a:pt x="745405" y="19291"/>
                </a:lnTo>
                <a:lnTo>
                  <a:pt x="701821" y="29902"/>
                </a:lnTo>
                <a:lnTo>
                  <a:pt x="659036" y="42712"/>
                </a:lnTo>
                <a:lnTo>
                  <a:pt x="617104" y="57664"/>
                </a:lnTo>
                <a:lnTo>
                  <a:pt x="576077" y="74700"/>
                </a:lnTo>
                <a:lnTo>
                  <a:pt x="536009" y="93762"/>
                </a:lnTo>
                <a:lnTo>
                  <a:pt x="496953" y="114793"/>
                </a:lnTo>
                <a:lnTo>
                  <a:pt x="458962" y="137734"/>
                </a:lnTo>
                <a:lnTo>
                  <a:pt x="422088" y="162528"/>
                </a:lnTo>
                <a:lnTo>
                  <a:pt x="386386" y="189116"/>
                </a:lnTo>
                <a:lnTo>
                  <a:pt x="351907" y="217442"/>
                </a:lnTo>
                <a:lnTo>
                  <a:pt x="318706" y="247447"/>
                </a:lnTo>
                <a:lnTo>
                  <a:pt x="286835" y="279074"/>
                </a:lnTo>
                <a:lnTo>
                  <a:pt x="256347" y="312265"/>
                </a:lnTo>
                <a:lnTo>
                  <a:pt x="227296" y="346961"/>
                </a:lnTo>
                <a:lnTo>
                  <a:pt x="199734" y="383106"/>
                </a:lnTo>
                <a:lnTo>
                  <a:pt x="173715" y="420641"/>
                </a:lnTo>
                <a:lnTo>
                  <a:pt x="149292" y="459509"/>
                </a:lnTo>
                <a:lnTo>
                  <a:pt x="126517" y="499652"/>
                </a:lnTo>
                <a:lnTo>
                  <a:pt x="105444" y="541011"/>
                </a:lnTo>
                <a:lnTo>
                  <a:pt x="86126" y="583530"/>
                </a:lnTo>
                <a:lnTo>
                  <a:pt x="68617" y="627150"/>
                </a:lnTo>
                <a:lnTo>
                  <a:pt x="52968" y="671813"/>
                </a:lnTo>
                <a:lnTo>
                  <a:pt x="39234" y="717463"/>
                </a:lnTo>
                <a:lnTo>
                  <a:pt x="27467" y="764040"/>
                </a:lnTo>
                <a:lnTo>
                  <a:pt x="17720" y="811488"/>
                </a:lnTo>
                <a:lnTo>
                  <a:pt x="10047" y="859748"/>
                </a:lnTo>
                <a:lnTo>
                  <a:pt x="4500" y="908763"/>
                </a:lnTo>
                <a:lnTo>
                  <a:pt x="1134" y="958474"/>
                </a:lnTo>
                <a:lnTo>
                  <a:pt x="0" y="1008825"/>
                </a:lnTo>
                <a:lnTo>
                  <a:pt x="0" y="3913954"/>
                </a:lnTo>
                <a:lnTo>
                  <a:pt x="3842" y="3960620"/>
                </a:lnTo>
                <a:lnTo>
                  <a:pt x="14919" y="4004543"/>
                </a:lnTo>
                <a:lnTo>
                  <a:pt x="32559" y="4044988"/>
                </a:lnTo>
                <a:lnTo>
                  <a:pt x="56087" y="4081222"/>
                </a:lnTo>
                <a:lnTo>
                  <a:pt x="84830" y="4112513"/>
                </a:lnTo>
                <a:lnTo>
                  <a:pt x="118113" y="4138126"/>
                </a:lnTo>
                <a:lnTo>
                  <a:pt x="155265" y="4157329"/>
                </a:lnTo>
                <a:lnTo>
                  <a:pt x="195610" y="4169389"/>
                </a:lnTo>
                <a:lnTo>
                  <a:pt x="238477" y="4173571"/>
                </a:lnTo>
                <a:lnTo>
                  <a:pt x="1614869" y="3768898"/>
                </a:lnTo>
                <a:lnTo>
                  <a:pt x="1657735" y="3764715"/>
                </a:lnTo>
                <a:lnTo>
                  <a:pt x="1698081" y="3752656"/>
                </a:lnTo>
                <a:lnTo>
                  <a:pt x="1735232" y="3733453"/>
                </a:lnTo>
                <a:lnTo>
                  <a:pt x="1768516" y="3707839"/>
                </a:lnTo>
                <a:lnTo>
                  <a:pt x="1797259" y="3676549"/>
                </a:lnTo>
                <a:lnTo>
                  <a:pt x="1820787" y="3640314"/>
                </a:lnTo>
                <a:lnTo>
                  <a:pt x="1838426" y="3599869"/>
                </a:lnTo>
                <a:lnTo>
                  <a:pt x="1849504" y="3555947"/>
                </a:lnTo>
                <a:lnTo>
                  <a:pt x="1853346" y="3509280"/>
                </a:lnTo>
                <a:lnTo>
                  <a:pt x="1853346" y="1008825"/>
                </a:lnTo>
                <a:lnTo>
                  <a:pt x="1852212" y="958474"/>
                </a:lnTo>
                <a:lnTo>
                  <a:pt x="1848845" y="908763"/>
                </a:lnTo>
                <a:lnTo>
                  <a:pt x="1843299" y="859748"/>
                </a:lnTo>
                <a:lnTo>
                  <a:pt x="1835625" y="811488"/>
                </a:lnTo>
                <a:lnTo>
                  <a:pt x="1825879" y="764040"/>
                </a:lnTo>
                <a:lnTo>
                  <a:pt x="1814111" y="717463"/>
                </a:lnTo>
                <a:lnTo>
                  <a:pt x="1800377" y="671813"/>
                </a:lnTo>
                <a:lnTo>
                  <a:pt x="1784728" y="627150"/>
                </a:lnTo>
                <a:lnTo>
                  <a:pt x="1767218" y="583530"/>
                </a:lnTo>
                <a:lnTo>
                  <a:pt x="1747900" y="541011"/>
                </a:lnTo>
                <a:lnTo>
                  <a:pt x="1726827" y="499652"/>
                </a:lnTo>
                <a:lnTo>
                  <a:pt x="1704052" y="459509"/>
                </a:lnTo>
                <a:lnTo>
                  <a:pt x="1679629" y="420641"/>
                </a:lnTo>
                <a:lnTo>
                  <a:pt x="1653609" y="383106"/>
                </a:lnTo>
                <a:lnTo>
                  <a:pt x="1626047" y="346961"/>
                </a:lnTo>
                <a:lnTo>
                  <a:pt x="1596996" y="312265"/>
                </a:lnTo>
                <a:lnTo>
                  <a:pt x="1566508" y="279074"/>
                </a:lnTo>
                <a:lnTo>
                  <a:pt x="1534637" y="247447"/>
                </a:lnTo>
                <a:lnTo>
                  <a:pt x="1501435" y="217442"/>
                </a:lnTo>
                <a:lnTo>
                  <a:pt x="1466957" y="189116"/>
                </a:lnTo>
                <a:lnTo>
                  <a:pt x="1431254" y="162528"/>
                </a:lnTo>
                <a:lnTo>
                  <a:pt x="1394381" y="137734"/>
                </a:lnTo>
                <a:lnTo>
                  <a:pt x="1356389" y="114793"/>
                </a:lnTo>
                <a:lnTo>
                  <a:pt x="1317333" y="93762"/>
                </a:lnTo>
                <a:lnTo>
                  <a:pt x="1277265" y="74700"/>
                </a:lnTo>
                <a:lnTo>
                  <a:pt x="1236239" y="57664"/>
                </a:lnTo>
                <a:lnTo>
                  <a:pt x="1194307" y="42712"/>
                </a:lnTo>
                <a:lnTo>
                  <a:pt x="1151522" y="29902"/>
                </a:lnTo>
                <a:lnTo>
                  <a:pt x="1107939" y="19291"/>
                </a:lnTo>
                <a:lnTo>
                  <a:pt x="1063609" y="10938"/>
                </a:lnTo>
                <a:lnTo>
                  <a:pt x="1018586" y="4899"/>
                </a:lnTo>
                <a:lnTo>
                  <a:pt x="972923" y="1234"/>
                </a:lnTo>
                <a:lnTo>
                  <a:pt x="926673" y="0"/>
                </a:lnTo>
                <a:close/>
              </a:path>
            </a:pathLst>
          </a:custGeom>
          <a:solidFill>
            <a:srgbClr val="EDDCBE"/>
          </a:solidFill>
        </p:spPr>
        <p:txBody>
          <a:bodyPr wrap="square" lIns="0" tIns="0" rIns="0" bIns="0" rtlCol="0"/>
          <a:lstStyle/>
          <a:p>
            <a:endParaRPr sz="921"/>
          </a:p>
        </p:txBody>
      </p:sp>
      <p:sp>
        <p:nvSpPr>
          <p:cNvPr id="22" name="bg object 22"/>
          <p:cNvSpPr/>
          <p:nvPr/>
        </p:nvSpPr>
        <p:spPr>
          <a:xfrm>
            <a:off x="9830609" y="886212"/>
            <a:ext cx="1124082" cy="2028824"/>
          </a:xfrm>
          <a:custGeom>
            <a:avLst/>
            <a:gdLst/>
            <a:ahLst/>
            <a:cxnLst/>
            <a:rect l="l" t="t" r="r" b="b"/>
            <a:pathLst>
              <a:path w="1853565" h="3967479">
                <a:moveTo>
                  <a:pt x="926673" y="0"/>
                </a:moveTo>
                <a:lnTo>
                  <a:pt x="880423" y="1234"/>
                </a:lnTo>
                <a:lnTo>
                  <a:pt x="834760" y="4899"/>
                </a:lnTo>
                <a:lnTo>
                  <a:pt x="789737" y="10938"/>
                </a:lnTo>
                <a:lnTo>
                  <a:pt x="745407" y="19291"/>
                </a:lnTo>
                <a:lnTo>
                  <a:pt x="701823" y="29902"/>
                </a:lnTo>
                <a:lnTo>
                  <a:pt x="659039" y="42712"/>
                </a:lnTo>
                <a:lnTo>
                  <a:pt x="617107" y="57664"/>
                </a:lnTo>
                <a:lnTo>
                  <a:pt x="576081" y="74700"/>
                </a:lnTo>
                <a:lnTo>
                  <a:pt x="536013" y="93762"/>
                </a:lnTo>
                <a:lnTo>
                  <a:pt x="496957" y="114793"/>
                </a:lnTo>
                <a:lnTo>
                  <a:pt x="458965" y="137734"/>
                </a:lnTo>
                <a:lnTo>
                  <a:pt x="422092" y="162528"/>
                </a:lnTo>
                <a:lnTo>
                  <a:pt x="386389" y="189116"/>
                </a:lnTo>
                <a:lnTo>
                  <a:pt x="351910" y="217442"/>
                </a:lnTo>
                <a:lnTo>
                  <a:pt x="318709" y="247447"/>
                </a:lnTo>
                <a:lnTo>
                  <a:pt x="286838" y="279074"/>
                </a:lnTo>
                <a:lnTo>
                  <a:pt x="256350" y="312265"/>
                </a:lnTo>
                <a:lnTo>
                  <a:pt x="227298" y="346961"/>
                </a:lnTo>
                <a:lnTo>
                  <a:pt x="199737" y="383106"/>
                </a:lnTo>
                <a:lnTo>
                  <a:pt x="173717" y="420641"/>
                </a:lnTo>
                <a:lnTo>
                  <a:pt x="149293" y="459509"/>
                </a:lnTo>
                <a:lnTo>
                  <a:pt x="126519" y="499652"/>
                </a:lnTo>
                <a:lnTo>
                  <a:pt x="105446" y="541011"/>
                </a:lnTo>
                <a:lnTo>
                  <a:pt x="86128" y="583530"/>
                </a:lnTo>
                <a:lnTo>
                  <a:pt x="68618" y="627150"/>
                </a:lnTo>
                <a:lnTo>
                  <a:pt x="52969" y="671813"/>
                </a:lnTo>
                <a:lnTo>
                  <a:pt x="39234" y="717463"/>
                </a:lnTo>
                <a:lnTo>
                  <a:pt x="27467" y="764040"/>
                </a:lnTo>
                <a:lnTo>
                  <a:pt x="17720" y="811488"/>
                </a:lnTo>
                <a:lnTo>
                  <a:pt x="10047" y="859748"/>
                </a:lnTo>
                <a:lnTo>
                  <a:pt x="4501" y="908763"/>
                </a:lnTo>
                <a:lnTo>
                  <a:pt x="1134" y="958474"/>
                </a:lnTo>
                <a:lnTo>
                  <a:pt x="0" y="1008825"/>
                </a:lnTo>
                <a:lnTo>
                  <a:pt x="0" y="3707298"/>
                </a:lnTo>
                <a:lnTo>
                  <a:pt x="3842" y="3753964"/>
                </a:lnTo>
                <a:lnTo>
                  <a:pt x="14919" y="3797887"/>
                </a:lnTo>
                <a:lnTo>
                  <a:pt x="32559" y="3838332"/>
                </a:lnTo>
                <a:lnTo>
                  <a:pt x="56087" y="3874566"/>
                </a:lnTo>
                <a:lnTo>
                  <a:pt x="84830" y="3905857"/>
                </a:lnTo>
                <a:lnTo>
                  <a:pt x="118113" y="3931470"/>
                </a:lnTo>
                <a:lnTo>
                  <a:pt x="155265" y="3950673"/>
                </a:lnTo>
                <a:lnTo>
                  <a:pt x="195610" y="3962733"/>
                </a:lnTo>
                <a:lnTo>
                  <a:pt x="238477" y="3966915"/>
                </a:lnTo>
                <a:lnTo>
                  <a:pt x="1614869" y="3243066"/>
                </a:lnTo>
                <a:lnTo>
                  <a:pt x="1657735" y="3238883"/>
                </a:lnTo>
                <a:lnTo>
                  <a:pt x="1698081" y="3226823"/>
                </a:lnTo>
                <a:lnTo>
                  <a:pt x="1735232" y="3207620"/>
                </a:lnTo>
                <a:lnTo>
                  <a:pt x="1768516" y="3182007"/>
                </a:lnTo>
                <a:lnTo>
                  <a:pt x="1797259" y="3150716"/>
                </a:lnTo>
                <a:lnTo>
                  <a:pt x="1820787" y="3114482"/>
                </a:lnTo>
                <a:lnTo>
                  <a:pt x="1838426" y="3074037"/>
                </a:lnTo>
                <a:lnTo>
                  <a:pt x="1849504" y="3030115"/>
                </a:lnTo>
                <a:lnTo>
                  <a:pt x="1853346" y="2983448"/>
                </a:lnTo>
                <a:lnTo>
                  <a:pt x="1853346" y="1008825"/>
                </a:lnTo>
                <a:lnTo>
                  <a:pt x="1852212" y="958474"/>
                </a:lnTo>
                <a:lnTo>
                  <a:pt x="1848845" y="908763"/>
                </a:lnTo>
                <a:lnTo>
                  <a:pt x="1843299" y="859748"/>
                </a:lnTo>
                <a:lnTo>
                  <a:pt x="1835626" y="811488"/>
                </a:lnTo>
                <a:lnTo>
                  <a:pt x="1825879" y="764040"/>
                </a:lnTo>
                <a:lnTo>
                  <a:pt x="1814112" y="717463"/>
                </a:lnTo>
                <a:lnTo>
                  <a:pt x="1800378" y="671813"/>
                </a:lnTo>
                <a:lnTo>
                  <a:pt x="1784729" y="627150"/>
                </a:lnTo>
                <a:lnTo>
                  <a:pt x="1767219" y="583530"/>
                </a:lnTo>
                <a:lnTo>
                  <a:pt x="1747902" y="541011"/>
                </a:lnTo>
                <a:lnTo>
                  <a:pt x="1726829" y="499652"/>
                </a:lnTo>
                <a:lnTo>
                  <a:pt x="1704054" y="459509"/>
                </a:lnTo>
                <a:lnTo>
                  <a:pt x="1679631" y="420641"/>
                </a:lnTo>
                <a:lnTo>
                  <a:pt x="1653612" y="383106"/>
                </a:lnTo>
                <a:lnTo>
                  <a:pt x="1626050" y="346961"/>
                </a:lnTo>
                <a:lnTo>
                  <a:pt x="1596999" y="312265"/>
                </a:lnTo>
                <a:lnTo>
                  <a:pt x="1566511" y="279074"/>
                </a:lnTo>
                <a:lnTo>
                  <a:pt x="1534640" y="247447"/>
                </a:lnTo>
                <a:lnTo>
                  <a:pt x="1501439" y="217442"/>
                </a:lnTo>
                <a:lnTo>
                  <a:pt x="1466960" y="189116"/>
                </a:lnTo>
                <a:lnTo>
                  <a:pt x="1431258" y="162528"/>
                </a:lnTo>
                <a:lnTo>
                  <a:pt x="1394384" y="137734"/>
                </a:lnTo>
                <a:lnTo>
                  <a:pt x="1356393" y="114793"/>
                </a:lnTo>
                <a:lnTo>
                  <a:pt x="1317336" y="93762"/>
                </a:lnTo>
                <a:lnTo>
                  <a:pt x="1277268" y="74700"/>
                </a:lnTo>
                <a:lnTo>
                  <a:pt x="1236242" y="57664"/>
                </a:lnTo>
                <a:lnTo>
                  <a:pt x="1194310" y="42712"/>
                </a:lnTo>
                <a:lnTo>
                  <a:pt x="1151525" y="29902"/>
                </a:lnTo>
                <a:lnTo>
                  <a:pt x="1107941" y="19291"/>
                </a:lnTo>
                <a:lnTo>
                  <a:pt x="1063611" y="10938"/>
                </a:lnTo>
                <a:lnTo>
                  <a:pt x="1018587" y="4899"/>
                </a:lnTo>
                <a:lnTo>
                  <a:pt x="972923" y="1234"/>
                </a:lnTo>
                <a:lnTo>
                  <a:pt x="926673" y="0"/>
                </a:lnTo>
                <a:close/>
              </a:path>
            </a:pathLst>
          </a:custGeom>
          <a:solidFill>
            <a:srgbClr val="F8E8C7"/>
          </a:solidFill>
        </p:spPr>
        <p:txBody>
          <a:bodyPr wrap="square" lIns="0" tIns="0" rIns="0" bIns="0" rtlCol="0"/>
          <a:lstStyle/>
          <a:p>
            <a:endParaRPr sz="921"/>
          </a:p>
        </p:txBody>
      </p:sp>
      <p:sp>
        <p:nvSpPr>
          <p:cNvPr id="23" name="bg object 23"/>
          <p:cNvSpPr/>
          <p:nvPr/>
        </p:nvSpPr>
        <p:spPr>
          <a:xfrm>
            <a:off x="9518741" y="2232635"/>
            <a:ext cx="1924688" cy="930961"/>
          </a:xfrm>
          <a:custGeom>
            <a:avLst/>
            <a:gdLst/>
            <a:ahLst/>
            <a:cxnLst/>
            <a:rect l="l" t="t" r="r" b="b"/>
            <a:pathLst>
              <a:path w="3173730" h="1820545">
                <a:moveTo>
                  <a:pt x="3173336" y="261594"/>
                </a:moveTo>
                <a:lnTo>
                  <a:pt x="2612834" y="0"/>
                </a:lnTo>
                <a:lnTo>
                  <a:pt x="2678239" y="255485"/>
                </a:lnTo>
                <a:lnTo>
                  <a:pt x="2670543" y="259384"/>
                </a:lnTo>
                <a:lnTo>
                  <a:pt x="2631668" y="278815"/>
                </a:lnTo>
                <a:lnTo>
                  <a:pt x="2591854" y="298437"/>
                </a:lnTo>
                <a:lnTo>
                  <a:pt x="2551125" y="318249"/>
                </a:lnTo>
                <a:lnTo>
                  <a:pt x="2509545" y="338226"/>
                </a:lnTo>
                <a:lnTo>
                  <a:pt x="2467127" y="358368"/>
                </a:lnTo>
                <a:lnTo>
                  <a:pt x="2423909" y="378650"/>
                </a:lnTo>
                <a:lnTo>
                  <a:pt x="2379942" y="399059"/>
                </a:lnTo>
                <a:lnTo>
                  <a:pt x="2335238" y="419608"/>
                </a:lnTo>
                <a:lnTo>
                  <a:pt x="2289848" y="440245"/>
                </a:lnTo>
                <a:lnTo>
                  <a:pt x="2243798" y="460984"/>
                </a:lnTo>
                <a:lnTo>
                  <a:pt x="2197125" y="481812"/>
                </a:lnTo>
                <a:lnTo>
                  <a:pt x="2149868" y="502716"/>
                </a:lnTo>
                <a:lnTo>
                  <a:pt x="2102065" y="523671"/>
                </a:lnTo>
                <a:lnTo>
                  <a:pt x="2004949" y="565734"/>
                </a:lnTo>
                <a:lnTo>
                  <a:pt x="1906054" y="607885"/>
                </a:lnTo>
                <a:lnTo>
                  <a:pt x="1805673" y="650036"/>
                </a:lnTo>
                <a:lnTo>
                  <a:pt x="1704073" y="692099"/>
                </a:lnTo>
                <a:lnTo>
                  <a:pt x="1601546" y="733958"/>
                </a:lnTo>
                <a:lnTo>
                  <a:pt x="1498384" y="775525"/>
                </a:lnTo>
                <a:lnTo>
                  <a:pt x="1394841" y="816711"/>
                </a:lnTo>
                <a:lnTo>
                  <a:pt x="1291221" y="857415"/>
                </a:lnTo>
                <a:lnTo>
                  <a:pt x="1187818" y="897547"/>
                </a:lnTo>
                <a:lnTo>
                  <a:pt x="1084884" y="936993"/>
                </a:lnTo>
                <a:lnTo>
                  <a:pt x="982713" y="975664"/>
                </a:lnTo>
                <a:lnTo>
                  <a:pt x="881595" y="1013460"/>
                </a:lnTo>
                <a:lnTo>
                  <a:pt x="781812" y="1050290"/>
                </a:lnTo>
                <a:lnTo>
                  <a:pt x="683641" y="1086065"/>
                </a:lnTo>
                <a:lnTo>
                  <a:pt x="587349" y="1120660"/>
                </a:lnTo>
                <a:lnTo>
                  <a:pt x="493255" y="1154010"/>
                </a:lnTo>
                <a:lnTo>
                  <a:pt x="401612" y="1186014"/>
                </a:lnTo>
                <a:lnTo>
                  <a:pt x="312712" y="1216545"/>
                </a:lnTo>
                <a:lnTo>
                  <a:pt x="226847" y="1245539"/>
                </a:lnTo>
                <a:lnTo>
                  <a:pt x="144272" y="1272895"/>
                </a:lnTo>
                <a:lnTo>
                  <a:pt x="65303" y="1298498"/>
                </a:lnTo>
                <a:lnTo>
                  <a:pt x="27241" y="1310614"/>
                </a:lnTo>
                <a:lnTo>
                  <a:pt x="137299" y="1487309"/>
                </a:lnTo>
                <a:lnTo>
                  <a:pt x="0" y="1820367"/>
                </a:lnTo>
                <a:lnTo>
                  <a:pt x="40627" y="1808022"/>
                </a:lnTo>
                <a:lnTo>
                  <a:pt x="82080" y="1795221"/>
                </a:lnTo>
                <a:lnTo>
                  <a:pt x="124294" y="1781949"/>
                </a:lnTo>
                <a:lnTo>
                  <a:pt x="167271" y="1768233"/>
                </a:lnTo>
                <a:lnTo>
                  <a:pt x="210972" y="1754085"/>
                </a:lnTo>
                <a:lnTo>
                  <a:pt x="255371" y="1739519"/>
                </a:lnTo>
                <a:lnTo>
                  <a:pt x="300418" y="1724545"/>
                </a:lnTo>
                <a:lnTo>
                  <a:pt x="346100" y="1709166"/>
                </a:lnTo>
                <a:lnTo>
                  <a:pt x="392391" y="1693418"/>
                </a:lnTo>
                <a:lnTo>
                  <a:pt x="439242" y="1677289"/>
                </a:lnTo>
                <a:lnTo>
                  <a:pt x="486638" y="1660804"/>
                </a:lnTo>
                <a:lnTo>
                  <a:pt x="582917" y="1626806"/>
                </a:lnTo>
                <a:lnTo>
                  <a:pt x="680986" y="1591538"/>
                </a:lnTo>
                <a:lnTo>
                  <a:pt x="780605" y="1555076"/>
                </a:lnTo>
                <a:lnTo>
                  <a:pt x="881519" y="1517535"/>
                </a:lnTo>
                <a:lnTo>
                  <a:pt x="983488" y="1479016"/>
                </a:lnTo>
                <a:lnTo>
                  <a:pt x="1086281" y="1439608"/>
                </a:lnTo>
                <a:lnTo>
                  <a:pt x="1189634" y="1399438"/>
                </a:lnTo>
                <a:lnTo>
                  <a:pt x="1293317" y="1358569"/>
                </a:lnTo>
                <a:lnTo>
                  <a:pt x="1397076" y="1317129"/>
                </a:lnTo>
                <a:lnTo>
                  <a:pt x="1500670" y="1275219"/>
                </a:lnTo>
                <a:lnTo>
                  <a:pt x="1603870" y="1232916"/>
                </a:lnTo>
                <a:lnTo>
                  <a:pt x="1706410" y="1190345"/>
                </a:lnTo>
                <a:lnTo>
                  <a:pt x="1808048" y="1147584"/>
                </a:lnTo>
                <a:lnTo>
                  <a:pt x="1908543" y="1104760"/>
                </a:lnTo>
                <a:lnTo>
                  <a:pt x="2007666" y="1061961"/>
                </a:lnTo>
                <a:lnTo>
                  <a:pt x="2105152" y="1019276"/>
                </a:lnTo>
                <a:lnTo>
                  <a:pt x="2200770" y="976820"/>
                </a:lnTo>
                <a:lnTo>
                  <a:pt x="2294267" y="934681"/>
                </a:lnTo>
                <a:lnTo>
                  <a:pt x="2385403" y="892975"/>
                </a:lnTo>
                <a:lnTo>
                  <a:pt x="2430005" y="872312"/>
                </a:lnTo>
                <a:lnTo>
                  <a:pt x="2473934" y="851789"/>
                </a:lnTo>
                <a:lnTo>
                  <a:pt x="2517140" y="831430"/>
                </a:lnTo>
                <a:lnTo>
                  <a:pt x="2559608" y="811237"/>
                </a:lnTo>
                <a:lnTo>
                  <a:pt x="2601303" y="791222"/>
                </a:lnTo>
                <a:lnTo>
                  <a:pt x="2642197" y="771410"/>
                </a:lnTo>
                <a:lnTo>
                  <a:pt x="2682252" y="751789"/>
                </a:lnTo>
                <a:lnTo>
                  <a:pt x="2721445" y="732396"/>
                </a:lnTo>
                <a:lnTo>
                  <a:pt x="2759735" y="713244"/>
                </a:lnTo>
                <a:lnTo>
                  <a:pt x="2791345" y="697242"/>
                </a:lnTo>
                <a:lnTo>
                  <a:pt x="2864967" y="984783"/>
                </a:lnTo>
                <a:lnTo>
                  <a:pt x="3173336" y="261594"/>
                </a:lnTo>
                <a:close/>
              </a:path>
            </a:pathLst>
          </a:custGeom>
          <a:solidFill>
            <a:srgbClr val="FEBC11"/>
          </a:solidFill>
        </p:spPr>
        <p:txBody>
          <a:bodyPr wrap="square" lIns="0" tIns="0" rIns="0" bIns="0" rtlCol="0"/>
          <a:lstStyle/>
          <a:p>
            <a:endParaRPr sz="921"/>
          </a:p>
        </p:txBody>
      </p:sp>
      <p:sp>
        <p:nvSpPr>
          <p:cNvPr id="24" name="bg object 24"/>
          <p:cNvSpPr/>
          <p:nvPr/>
        </p:nvSpPr>
        <p:spPr>
          <a:xfrm>
            <a:off x="7802513" y="2921539"/>
            <a:ext cx="1732142" cy="644561"/>
          </a:xfrm>
          <a:custGeom>
            <a:avLst/>
            <a:gdLst/>
            <a:ahLst/>
            <a:cxnLst/>
            <a:rect l="l" t="t" r="r" b="b"/>
            <a:pathLst>
              <a:path w="2856230" h="1260475">
                <a:moveTo>
                  <a:pt x="2740887" y="0"/>
                </a:moveTo>
                <a:lnTo>
                  <a:pt x="2625021" y="35618"/>
                </a:lnTo>
                <a:lnTo>
                  <a:pt x="2499239" y="73596"/>
                </a:lnTo>
                <a:lnTo>
                  <a:pt x="2364713" y="113592"/>
                </a:lnTo>
                <a:lnTo>
                  <a:pt x="2222616" y="155264"/>
                </a:lnTo>
                <a:lnTo>
                  <a:pt x="2074121" y="198271"/>
                </a:lnTo>
                <a:lnTo>
                  <a:pt x="1920400" y="242271"/>
                </a:lnTo>
                <a:lnTo>
                  <a:pt x="1762627" y="286922"/>
                </a:lnTo>
                <a:lnTo>
                  <a:pt x="1601974" y="331882"/>
                </a:lnTo>
                <a:lnTo>
                  <a:pt x="1439614" y="376809"/>
                </a:lnTo>
                <a:lnTo>
                  <a:pt x="1276719" y="421362"/>
                </a:lnTo>
                <a:lnTo>
                  <a:pt x="1114463" y="465199"/>
                </a:lnTo>
                <a:lnTo>
                  <a:pt x="954017" y="507978"/>
                </a:lnTo>
                <a:lnTo>
                  <a:pt x="796555" y="549357"/>
                </a:lnTo>
                <a:lnTo>
                  <a:pt x="643249" y="588995"/>
                </a:lnTo>
                <a:lnTo>
                  <a:pt x="543934" y="614284"/>
                </a:lnTo>
                <a:lnTo>
                  <a:pt x="447334" y="638547"/>
                </a:lnTo>
                <a:lnTo>
                  <a:pt x="353798" y="661680"/>
                </a:lnTo>
                <a:lnTo>
                  <a:pt x="263673" y="683584"/>
                </a:lnTo>
                <a:lnTo>
                  <a:pt x="177306" y="704158"/>
                </a:lnTo>
                <a:lnTo>
                  <a:pt x="95045" y="723299"/>
                </a:lnTo>
                <a:lnTo>
                  <a:pt x="17237" y="740906"/>
                </a:lnTo>
                <a:lnTo>
                  <a:pt x="147741" y="974931"/>
                </a:lnTo>
                <a:lnTo>
                  <a:pt x="0" y="1260291"/>
                </a:lnTo>
                <a:lnTo>
                  <a:pt x="81549" y="1241344"/>
                </a:lnTo>
                <a:lnTo>
                  <a:pt x="167243" y="1220916"/>
                </a:lnTo>
                <a:lnTo>
                  <a:pt x="256737" y="1199109"/>
                </a:lnTo>
                <a:lnTo>
                  <a:pt x="349687" y="1176026"/>
                </a:lnTo>
                <a:lnTo>
                  <a:pt x="445749" y="1151771"/>
                </a:lnTo>
                <a:lnTo>
                  <a:pt x="544579" y="1126446"/>
                </a:lnTo>
                <a:lnTo>
                  <a:pt x="697264" y="1086679"/>
                </a:lnTo>
                <a:lnTo>
                  <a:pt x="854244" y="1045084"/>
                </a:lnTo>
                <a:lnTo>
                  <a:pt x="1014359" y="1002010"/>
                </a:lnTo>
                <a:lnTo>
                  <a:pt x="1176449" y="957803"/>
                </a:lnTo>
                <a:lnTo>
                  <a:pt x="1339353" y="912811"/>
                </a:lnTo>
                <a:lnTo>
                  <a:pt x="1501911" y="867382"/>
                </a:lnTo>
                <a:lnTo>
                  <a:pt x="1662962" y="821863"/>
                </a:lnTo>
                <a:lnTo>
                  <a:pt x="1821347" y="776602"/>
                </a:lnTo>
                <a:lnTo>
                  <a:pt x="1975905" y="731946"/>
                </a:lnTo>
                <a:lnTo>
                  <a:pt x="2125475" y="688243"/>
                </a:lnTo>
                <a:lnTo>
                  <a:pt x="2268897" y="645840"/>
                </a:lnTo>
                <a:lnTo>
                  <a:pt x="2405011" y="605084"/>
                </a:lnTo>
                <a:lnTo>
                  <a:pt x="2532657" y="566324"/>
                </a:lnTo>
                <a:lnTo>
                  <a:pt x="2650674" y="529907"/>
                </a:lnTo>
                <a:lnTo>
                  <a:pt x="2723430" y="507102"/>
                </a:lnTo>
                <a:lnTo>
                  <a:pt x="2856172" y="185099"/>
                </a:lnTo>
                <a:lnTo>
                  <a:pt x="2740887" y="0"/>
                </a:lnTo>
                <a:close/>
              </a:path>
            </a:pathLst>
          </a:custGeom>
          <a:solidFill>
            <a:srgbClr val="E2AF3F"/>
          </a:solidFill>
        </p:spPr>
        <p:txBody>
          <a:bodyPr wrap="square" lIns="0" tIns="0" rIns="0" bIns="0" rtlCol="0"/>
          <a:lstStyle/>
          <a:p>
            <a:endParaRPr sz="921"/>
          </a:p>
        </p:txBody>
      </p:sp>
      <p:sp>
        <p:nvSpPr>
          <p:cNvPr id="25" name="bg object 25"/>
          <p:cNvSpPr/>
          <p:nvPr/>
        </p:nvSpPr>
        <p:spPr>
          <a:xfrm>
            <a:off x="6342674" y="3316347"/>
            <a:ext cx="1463733" cy="484801"/>
          </a:xfrm>
          <a:custGeom>
            <a:avLst/>
            <a:gdLst/>
            <a:ahLst/>
            <a:cxnLst/>
            <a:rect l="l" t="t" r="r" b="b"/>
            <a:pathLst>
              <a:path w="2413634" h="948054">
                <a:moveTo>
                  <a:pt x="2283032" y="0"/>
                </a:moveTo>
                <a:lnTo>
                  <a:pt x="2181574" y="21916"/>
                </a:lnTo>
                <a:lnTo>
                  <a:pt x="2080126" y="43478"/>
                </a:lnTo>
                <a:lnTo>
                  <a:pt x="1978700" y="64688"/>
                </a:lnTo>
                <a:lnTo>
                  <a:pt x="1877306" y="85549"/>
                </a:lnTo>
                <a:lnTo>
                  <a:pt x="1775952" y="106065"/>
                </a:lnTo>
                <a:lnTo>
                  <a:pt x="1674651" y="126238"/>
                </a:lnTo>
                <a:lnTo>
                  <a:pt x="1573410" y="146072"/>
                </a:lnTo>
                <a:lnTo>
                  <a:pt x="1421687" y="175192"/>
                </a:lnTo>
                <a:lnTo>
                  <a:pt x="1270158" y="203565"/>
                </a:lnTo>
                <a:lnTo>
                  <a:pt x="1118858" y="231200"/>
                </a:lnTo>
                <a:lnTo>
                  <a:pt x="967820" y="258108"/>
                </a:lnTo>
                <a:lnTo>
                  <a:pt x="817079" y="284299"/>
                </a:lnTo>
                <a:lnTo>
                  <a:pt x="666668" y="309783"/>
                </a:lnTo>
                <a:lnTo>
                  <a:pt x="516621" y="334570"/>
                </a:lnTo>
                <a:lnTo>
                  <a:pt x="366973" y="358671"/>
                </a:lnTo>
                <a:lnTo>
                  <a:pt x="217756" y="382094"/>
                </a:lnTo>
                <a:lnTo>
                  <a:pt x="69005" y="404851"/>
                </a:lnTo>
                <a:lnTo>
                  <a:pt x="19530" y="412291"/>
                </a:lnTo>
                <a:lnTo>
                  <a:pt x="161798" y="647595"/>
                </a:lnTo>
                <a:lnTo>
                  <a:pt x="0" y="947499"/>
                </a:lnTo>
                <a:lnTo>
                  <a:pt x="158446" y="922398"/>
                </a:lnTo>
                <a:lnTo>
                  <a:pt x="315850" y="896805"/>
                </a:lnTo>
                <a:lnTo>
                  <a:pt x="472206" y="870724"/>
                </a:lnTo>
                <a:lnTo>
                  <a:pt x="627509" y="844155"/>
                </a:lnTo>
                <a:lnTo>
                  <a:pt x="781756" y="817103"/>
                </a:lnTo>
                <a:lnTo>
                  <a:pt x="934942" y="789568"/>
                </a:lnTo>
                <a:lnTo>
                  <a:pt x="1087062" y="761553"/>
                </a:lnTo>
                <a:lnTo>
                  <a:pt x="1238111" y="733061"/>
                </a:lnTo>
                <a:lnTo>
                  <a:pt x="1388086" y="704093"/>
                </a:lnTo>
                <a:lnTo>
                  <a:pt x="1536981" y="674652"/>
                </a:lnTo>
                <a:lnTo>
                  <a:pt x="1684793" y="644740"/>
                </a:lnTo>
                <a:lnTo>
                  <a:pt x="1831516" y="614360"/>
                </a:lnTo>
                <a:lnTo>
                  <a:pt x="1977147" y="583513"/>
                </a:lnTo>
                <a:lnTo>
                  <a:pt x="2121680" y="552202"/>
                </a:lnTo>
                <a:lnTo>
                  <a:pt x="2265111" y="520429"/>
                </a:lnTo>
                <a:lnTo>
                  <a:pt x="2413465" y="233890"/>
                </a:lnTo>
                <a:lnTo>
                  <a:pt x="2283032" y="0"/>
                </a:lnTo>
                <a:close/>
              </a:path>
            </a:pathLst>
          </a:custGeom>
          <a:solidFill>
            <a:srgbClr val="AAA03C"/>
          </a:solidFill>
        </p:spPr>
        <p:txBody>
          <a:bodyPr wrap="square" lIns="0" tIns="0" rIns="0" bIns="0" rtlCol="0"/>
          <a:lstStyle/>
          <a:p>
            <a:endParaRPr sz="921"/>
          </a:p>
        </p:txBody>
      </p:sp>
      <p:sp>
        <p:nvSpPr>
          <p:cNvPr id="26" name="bg object 26"/>
          <p:cNvSpPr/>
          <p:nvPr/>
        </p:nvSpPr>
        <p:spPr>
          <a:xfrm>
            <a:off x="4698239" y="3540723"/>
            <a:ext cx="1634329" cy="432197"/>
          </a:xfrm>
          <a:custGeom>
            <a:avLst/>
            <a:gdLst/>
            <a:ahLst/>
            <a:cxnLst/>
            <a:rect l="l" t="t" r="r" b="b"/>
            <a:pathLst>
              <a:path w="2694940" h="845184">
                <a:moveTo>
                  <a:pt x="2551673" y="0"/>
                </a:moveTo>
                <a:lnTo>
                  <a:pt x="2392452" y="22769"/>
                </a:lnTo>
                <a:lnTo>
                  <a:pt x="2233986" y="44793"/>
                </a:lnTo>
                <a:lnTo>
                  <a:pt x="2076323" y="66082"/>
                </a:lnTo>
                <a:lnTo>
                  <a:pt x="1919508" y="86649"/>
                </a:lnTo>
                <a:lnTo>
                  <a:pt x="1763589" y="106506"/>
                </a:lnTo>
                <a:lnTo>
                  <a:pt x="1608611" y="125667"/>
                </a:lnTo>
                <a:lnTo>
                  <a:pt x="1454622" y="144143"/>
                </a:lnTo>
                <a:lnTo>
                  <a:pt x="1301668" y="161946"/>
                </a:lnTo>
                <a:lnTo>
                  <a:pt x="1149795" y="179089"/>
                </a:lnTo>
                <a:lnTo>
                  <a:pt x="999051" y="195585"/>
                </a:lnTo>
                <a:lnTo>
                  <a:pt x="849481" y="211445"/>
                </a:lnTo>
                <a:lnTo>
                  <a:pt x="701132" y="226682"/>
                </a:lnTo>
                <a:lnTo>
                  <a:pt x="505314" y="246051"/>
                </a:lnTo>
                <a:lnTo>
                  <a:pt x="311861" y="264363"/>
                </a:lnTo>
                <a:lnTo>
                  <a:pt x="120882" y="281648"/>
                </a:lnTo>
                <a:lnTo>
                  <a:pt x="26355" y="289915"/>
                </a:lnTo>
                <a:lnTo>
                  <a:pt x="155154" y="554299"/>
                </a:lnTo>
                <a:lnTo>
                  <a:pt x="0" y="845133"/>
                </a:lnTo>
                <a:lnTo>
                  <a:pt x="158650" y="829911"/>
                </a:lnTo>
                <a:lnTo>
                  <a:pt x="316468" y="814256"/>
                </a:lnTo>
                <a:lnTo>
                  <a:pt x="473450" y="798170"/>
                </a:lnTo>
                <a:lnTo>
                  <a:pt x="629591" y="781656"/>
                </a:lnTo>
                <a:lnTo>
                  <a:pt x="784889" y="764715"/>
                </a:lnTo>
                <a:lnTo>
                  <a:pt x="939340" y="747349"/>
                </a:lnTo>
                <a:lnTo>
                  <a:pt x="1092941" y="729560"/>
                </a:lnTo>
                <a:lnTo>
                  <a:pt x="1245688" y="711351"/>
                </a:lnTo>
                <a:lnTo>
                  <a:pt x="1397578" y="692723"/>
                </a:lnTo>
                <a:lnTo>
                  <a:pt x="1548607" y="673679"/>
                </a:lnTo>
                <a:lnTo>
                  <a:pt x="1698771" y="654221"/>
                </a:lnTo>
                <a:lnTo>
                  <a:pt x="1848068" y="634350"/>
                </a:lnTo>
                <a:lnTo>
                  <a:pt x="1996494" y="614069"/>
                </a:lnTo>
                <a:lnTo>
                  <a:pt x="2144045" y="593380"/>
                </a:lnTo>
                <a:lnTo>
                  <a:pt x="2290717" y="572285"/>
                </a:lnTo>
                <a:lnTo>
                  <a:pt x="2436508" y="550786"/>
                </a:lnTo>
                <a:lnTo>
                  <a:pt x="2533210" y="536229"/>
                </a:lnTo>
                <a:lnTo>
                  <a:pt x="2694797" y="236725"/>
                </a:lnTo>
                <a:lnTo>
                  <a:pt x="2551673" y="0"/>
                </a:lnTo>
                <a:close/>
              </a:path>
            </a:pathLst>
          </a:custGeom>
          <a:solidFill>
            <a:srgbClr val="AABFA9"/>
          </a:solidFill>
        </p:spPr>
        <p:txBody>
          <a:bodyPr wrap="square" lIns="0" tIns="0" rIns="0" bIns="0" rtlCol="0"/>
          <a:lstStyle/>
          <a:p>
            <a:endParaRPr sz="921"/>
          </a:p>
        </p:txBody>
      </p:sp>
      <p:sp>
        <p:nvSpPr>
          <p:cNvPr id="27" name="bg object 27"/>
          <p:cNvSpPr/>
          <p:nvPr/>
        </p:nvSpPr>
        <p:spPr>
          <a:xfrm>
            <a:off x="2906611" y="3695706"/>
            <a:ext cx="1794142" cy="376995"/>
          </a:xfrm>
          <a:custGeom>
            <a:avLst/>
            <a:gdLst/>
            <a:ahLst/>
            <a:cxnLst/>
            <a:rect l="l" t="t" r="r" b="b"/>
            <a:pathLst>
              <a:path w="2958465" h="737234">
                <a:moveTo>
                  <a:pt x="2825482" y="0"/>
                </a:moveTo>
                <a:lnTo>
                  <a:pt x="2647695" y="14466"/>
                </a:lnTo>
                <a:lnTo>
                  <a:pt x="2485809" y="27074"/>
                </a:lnTo>
                <a:lnTo>
                  <a:pt x="2325005" y="39078"/>
                </a:lnTo>
                <a:lnTo>
                  <a:pt x="2165327" y="50491"/>
                </a:lnTo>
                <a:lnTo>
                  <a:pt x="2006823" y="61326"/>
                </a:lnTo>
                <a:lnTo>
                  <a:pt x="1849539" y="71596"/>
                </a:lnTo>
                <a:lnTo>
                  <a:pt x="1641803" y="84433"/>
                </a:lnTo>
                <a:lnTo>
                  <a:pt x="1436426" y="96319"/>
                </a:lnTo>
                <a:lnTo>
                  <a:pt x="1233517" y="107285"/>
                </a:lnTo>
                <a:lnTo>
                  <a:pt x="1033186" y="117362"/>
                </a:lnTo>
                <a:lnTo>
                  <a:pt x="835543" y="126581"/>
                </a:lnTo>
                <a:lnTo>
                  <a:pt x="640695" y="134972"/>
                </a:lnTo>
                <a:lnTo>
                  <a:pt x="448754" y="142565"/>
                </a:lnTo>
                <a:lnTo>
                  <a:pt x="259827" y="149393"/>
                </a:lnTo>
                <a:lnTo>
                  <a:pt x="28075" y="156898"/>
                </a:lnTo>
                <a:lnTo>
                  <a:pt x="191695" y="451855"/>
                </a:lnTo>
                <a:lnTo>
                  <a:pt x="0" y="736650"/>
                </a:lnTo>
                <a:lnTo>
                  <a:pt x="233340" y="727116"/>
                </a:lnTo>
                <a:lnTo>
                  <a:pt x="423633" y="718627"/>
                </a:lnTo>
                <a:lnTo>
                  <a:pt x="617025" y="709338"/>
                </a:lnTo>
                <a:lnTo>
                  <a:pt x="813402" y="699219"/>
                </a:lnTo>
                <a:lnTo>
                  <a:pt x="1012651" y="688240"/>
                </a:lnTo>
                <a:lnTo>
                  <a:pt x="1214660" y="676369"/>
                </a:lnTo>
                <a:lnTo>
                  <a:pt x="1419317" y="663577"/>
                </a:lnTo>
                <a:lnTo>
                  <a:pt x="1626508" y="649834"/>
                </a:lnTo>
                <a:lnTo>
                  <a:pt x="1836122" y="635107"/>
                </a:lnTo>
                <a:lnTo>
                  <a:pt x="1994854" y="623399"/>
                </a:lnTo>
                <a:lnTo>
                  <a:pt x="2154838" y="611108"/>
                </a:lnTo>
                <a:lnTo>
                  <a:pt x="2316027" y="598222"/>
                </a:lnTo>
                <a:lnTo>
                  <a:pt x="2478372" y="584728"/>
                </a:lnTo>
                <a:lnTo>
                  <a:pt x="2641827" y="570612"/>
                </a:lnTo>
                <a:lnTo>
                  <a:pt x="2806343" y="555862"/>
                </a:lnTo>
                <a:lnTo>
                  <a:pt x="2957886" y="271805"/>
                </a:lnTo>
                <a:lnTo>
                  <a:pt x="2825482" y="0"/>
                </a:lnTo>
                <a:close/>
              </a:path>
            </a:pathLst>
          </a:custGeom>
          <a:solidFill>
            <a:srgbClr val="45ACBA"/>
          </a:solidFill>
        </p:spPr>
        <p:txBody>
          <a:bodyPr wrap="square" lIns="0" tIns="0" rIns="0" bIns="0" rtlCol="0"/>
          <a:lstStyle/>
          <a:p>
            <a:endParaRPr sz="921"/>
          </a:p>
        </p:txBody>
      </p:sp>
      <p:sp>
        <p:nvSpPr>
          <p:cNvPr id="28" name="bg object 28"/>
          <p:cNvSpPr/>
          <p:nvPr/>
        </p:nvSpPr>
        <p:spPr>
          <a:xfrm>
            <a:off x="828251" y="3772195"/>
            <a:ext cx="2102600" cy="322118"/>
          </a:xfrm>
          <a:custGeom>
            <a:avLst/>
            <a:gdLst/>
            <a:ahLst/>
            <a:cxnLst/>
            <a:rect l="l" t="t" r="r" b="b"/>
            <a:pathLst>
              <a:path w="3467100" h="629920">
                <a:moveTo>
                  <a:pt x="20975" y="0"/>
                </a:moveTo>
                <a:lnTo>
                  <a:pt x="168183" y="294226"/>
                </a:lnTo>
                <a:lnTo>
                  <a:pt x="0" y="609287"/>
                </a:lnTo>
                <a:lnTo>
                  <a:pt x="147291" y="614263"/>
                </a:lnTo>
                <a:lnTo>
                  <a:pt x="307737" y="618523"/>
                </a:lnTo>
                <a:lnTo>
                  <a:pt x="482140" y="622194"/>
                </a:lnTo>
                <a:lnTo>
                  <a:pt x="647185" y="624892"/>
                </a:lnTo>
                <a:lnTo>
                  <a:pt x="785337" y="626627"/>
                </a:lnTo>
                <a:lnTo>
                  <a:pt x="935434" y="628009"/>
                </a:lnTo>
                <a:lnTo>
                  <a:pt x="1097141" y="628943"/>
                </a:lnTo>
                <a:lnTo>
                  <a:pt x="1270124" y="629333"/>
                </a:lnTo>
                <a:lnTo>
                  <a:pt x="1454048" y="629084"/>
                </a:lnTo>
                <a:lnTo>
                  <a:pt x="1582578" y="628516"/>
                </a:lnTo>
                <a:lnTo>
                  <a:pt x="1715723" y="627593"/>
                </a:lnTo>
                <a:lnTo>
                  <a:pt x="1853384" y="626286"/>
                </a:lnTo>
                <a:lnTo>
                  <a:pt x="1995462" y="624569"/>
                </a:lnTo>
                <a:lnTo>
                  <a:pt x="2141858" y="622411"/>
                </a:lnTo>
                <a:lnTo>
                  <a:pt x="2292473" y="619786"/>
                </a:lnTo>
                <a:lnTo>
                  <a:pt x="2447208" y="616664"/>
                </a:lnTo>
                <a:lnTo>
                  <a:pt x="2605964" y="613018"/>
                </a:lnTo>
                <a:lnTo>
                  <a:pt x="2768641" y="608819"/>
                </a:lnTo>
                <a:lnTo>
                  <a:pt x="2935142" y="604039"/>
                </a:lnTo>
                <a:lnTo>
                  <a:pt x="3105365" y="598650"/>
                </a:lnTo>
                <a:lnTo>
                  <a:pt x="3279214" y="592623"/>
                </a:lnTo>
                <a:lnTo>
                  <a:pt x="3466787" y="313945"/>
                </a:lnTo>
                <a:lnTo>
                  <a:pt x="3299200" y="11842"/>
                </a:lnTo>
                <a:lnTo>
                  <a:pt x="3134166" y="16150"/>
                </a:lnTo>
                <a:lnTo>
                  <a:pt x="2972346" y="19907"/>
                </a:lnTo>
                <a:lnTo>
                  <a:pt x="2813824" y="23140"/>
                </a:lnTo>
                <a:lnTo>
                  <a:pt x="2658687" y="25872"/>
                </a:lnTo>
                <a:lnTo>
                  <a:pt x="2507017" y="28130"/>
                </a:lnTo>
                <a:lnTo>
                  <a:pt x="2358900" y="29937"/>
                </a:lnTo>
                <a:lnTo>
                  <a:pt x="2214420" y="31319"/>
                </a:lnTo>
                <a:lnTo>
                  <a:pt x="2073662" y="32300"/>
                </a:lnTo>
                <a:lnTo>
                  <a:pt x="1936710" y="32906"/>
                </a:lnTo>
                <a:lnTo>
                  <a:pt x="1803649" y="33161"/>
                </a:lnTo>
                <a:lnTo>
                  <a:pt x="1611538" y="32941"/>
                </a:lnTo>
                <a:lnTo>
                  <a:pt x="1428656" y="32072"/>
                </a:lnTo>
                <a:lnTo>
                  <a:pt x="1255291" y="30638"/>
                </a:lnTo>
                <a:lnTo>
                  <a:pt x="1091725" y="28724"/>
                </a:lnTo>
                <a:lnTo>
                  <a:pt x="938246" y="26413"/>
                </a:lnTo>
                <a:lnTo>
                  <a:pt x="749790" y="22861"/>
                </a:lnTo>
                <a:lnTo>
                  <a:pt x="580449" y="18953"/>
                </a:lnTo>
                <a:lnTo>
                  <a:pt x="396683" y="13870"/>
                </a:lnTo>
                <a:lnTo>
                  <a:pt x="193877" y="7085"/>
                </a:lnTo>
                <a:lnTo>
                  <a:pt x="20975" y="0"/>
                </a:lnTo>
                <a:close/>
              </a:path>
            </a:pathLst>
          </a:custGeom>
          <a:solidFill>
            <a:srgbClr val="58B8DE"/>
          </a:solidFill>
        </p:spPr>
        <p:txBody>
          <a:bodyPr wrap="square" lIns="0" tIns="0" rIns="0" bIns="0" rtlCol="0"/>
          <a:lstStyle/>
          <a:p>
            <a:endParaRPr sz="921"/>
          </a:p>
        </p:txBody>
      </p:sp>
      <p:sp>
        <p:nvSpPr>
          <p:cNvPr id="29" name="bg object 29"/>
          <p:cNvSpPr/>
          <p:nvPr/>
        </p:nvSpPr>
        <p:spPr>
          <a:xfrm>
            <a:off x="5325347" y="3080572"/>
            <a:ext cx="5063184" cy="1025128"/>
          </a:xfrm>
          <a:custGeom>
            <a:avLst/>
            <a:gdLst/>
            <a:ahLst/>
            <a:cxnLst/>
            <a:rect l="l" t="t" r="r" b="b"/>
            <a:pathLst>
              <a:path w="8348980" h="2004695">
                <a:moveTo>
                  <a:pt x="41046" y="1983943"/>
                </a:moveTo>
                <a:lnTo>
                  <a:pt x="39433" y="1975954"/>
                </a:lnTo>
                <a:lnTo>
                  <a:pt x="35026" y="1969427"/>
                </a:lnTo>
                <a:lnTo>
                  <a:pt x="28511" y="1965032"/>
                </a:lnTo>
                <a:lnTo>
                  <a:pt x="20523" y="1963420"/>
                </a:lnTo>
                <a:lnTo>
                  <a:pt x="12534" y="1965032"/>
                </a:lnTo>
                <a:lnTo>
                  <a:pt x="6007" y="1969427"/>
                </a:lnTo>
                <a:lnTo>
                  <a:pt x="1612" y="1975954"/>
                </a:lnTo>
                <a:lnTo>
                  <a:pt x="0" y="1983943"/>
                </a:lnTo>
                <a:lnTo>
                  <a:pt x="1612" y="1991931"/>
                </a:lnTo>
                <a:lnTo>
                  <a:pt x="6007" y="1998446"/>
                </a:lnTo>
                <a:lnTo>
                  <a:pt x="12534" y="2002840"/>
                </a:lnTo>
                <a:lnTo>
                  <a:pt x="20523" y="2004453"/>
                </a:lnTo>
                <a:lnTo>
                  <a:pt x="28511" y="2002840"/>
                </a:lnTo>
                <a:lnTo>
                  <a:pt x="35026" y="1998446"/>
                </a:lnTo>
                <a:lnTo>
                  <a:pt x="39433" y="1991931"/>
                </a:lnTo>
                <a:lnTo>
                  <a:pt x="41046" y="1983943"/>
                </a:lnTo>
                <a:close/>
              </a:path>
              <a:path w="8348980" h="2004695">
                <a:moveTo>
                  <a:pt x="2817139" y="1983943"/>
                </a:moveTo>
                <a:lnTo>
                  <a:pt x="2815526" y="1975954"/>
                </a:lnTo>
                <a:lnTo>
                  <a:pt x="2811119" y="1969427"/>
                </a:lnTo>
                <a:lnTo>
                  <a:pt x="2804604" y="1965032"/>
                </a:lnTo>
                <a:lnTo>
                  <a:pt x="2796616" y="1963420"/>
                </a:lnTo>
                <a:lnTo>
                  <a:pt x="2788628" y="1965032"/>
                </a:lnTo>
                <a:lnTo>
                  <a:pt x="2782100" y="1969427"/>
                </a:lnTo>
                <a:lnTo>
                  <a:pt x="2777706" y="1975954"/>
                </a:lnTo>
                <a:lnTo>
                  <a:pt x="2776093" y="1983943"/>
                </a:lnTo>
                <a:lnTo>
                  <a:pt x="2777706" y="1991931"/>
                </a:lnTo>
                <a:lnTo>
                  <a:pt x="2782100" y="1998446"/>
                </a:lnTo>
                <a:lnTo>
                  <a:pt x="2788628" y="2002840"/>
                </a:lnTo>
                <a:lnTo>
                  <a:pt x="2796616" y="2004453"/>
                </a:lnTo>
                <a:lnTo>
                  <a:pt x="2804604" y="2002840"/>
                </a:lnTo>
                <a:lnTo>
                  <a:pt x="2811119" y="1998446"/>
                </a:lnTo>
                <a:lnTo>
                  <a:pt x="2815526" y="1991931"/>
                </a:lnTo>
                <a:lnTo>
                  <a:pt x="2817139" y="1983943"/>
                </a:lnTo>
                <a:close/>
              </a:path>
              <a:path w="8348980" h="2004695">
                <a:moveTo>
                  <a:pt x="2817139" y="1591259"/>
                </a:moveTo>
                <a:lnTo>
                  <a:pt x="2815526" y="1583270"/>
                </a:lnTo>
                <a:lnTo>
                  <a:pt x="2811119" y="1576743"/>
                </a:lnTo>
                <a:lnTo>
                  <a:pt x="2804604" y="1572348"/>
                </a:lnTo>
                <a:lnTo>
                  <a:pt x="2796616" y="1570736"/>
                </a:lnTo>
                <a:lnTo>
                  <a:pt x="2788628" y="1572348"/>
                </a:lnTo>
                <a:lnTo>
                  <a:pt x="2782100" y="1576743"/>
                </a:lnTo>
                <a:lnTo>
                  <a:pt x="2777706" y="1583270"/>
                </a:lnTo>
                <a:lnTo>
                  <a:pt x="2776093" y="1591259"/>
                </a:lnTo>
                <a:lnTo>
                  <a:pt x="2777706" y="1599247"/>
                </a:lnTo>
                <a:lnTo>
                  <a:pt x="2782100" y="1605762"/>
                </a:lnTo>
                <a:lnTo>
                  <a:pt x="2788628" y="1610169"/>
                </a:lnTo>
                <a:lnTo>
                  <a:pt x="2796616" y="1611782"/>
                </a:lnTo>
                <a:lnTo>
                  <a:pt x="2804604" y="1610169"/>
                </a:lnTo>
                <a:lnTo>
                  <a:pt x="2811119" y="1605762"/>
                </a:lnTo>
                <a:lnTo>
                  <a:pt x="2815526" y="1599247"/>
                </a:lnTo>
                <a:lnTo>
                  <a:pt x="2817139" y="1591259"/>
                </a:lnTo>
                <a:close/>
              </a:path>
              <a:path w="8348980" h="2004695">
                <a:moveTo>
                  <a:pt x="5546115" y="1983943"/>
                </a:moveTo>
                <a:lnTo>
                  <a:pt x="5544502" y="1975954"/>
                </a:lnTo>
                <a:lnTo>
                  <a:pt x="5540095" y="1969427"/>
                </a:lnTo>
                <a:lnTo>
                  <a:pt x="5533580" y="1965032"/>
                </a:lnTo>
                <a:lnTo>
                  <a:pt x="5525592" y="1963420"/>
                </a:lnTo>
                <a:lnTo>
                  <a:pt x="5517604" y="1965032"/>
                </a:lnTo>
                <a:lnTo>
                  <a:pt x="5511076" y="1969427"/>
                </a:lnTo>
                <a:lnTo>
                  <a:pt x="5506682" y="1975954"/>
                </a:lnTo>
                <a:lnTo>
                  <a:pt x="5505069" y="1983943"/>
                </a:lnTo>
                <a:lnTo>
                  <a:pt x="5506682" y="1991931"/>
                </a:lnTo>
                <a:lnTo>
                  <a:pt x="5511076" y="1998446"/>
                </a:lnTo>
                <a:lnTo>
                  <a:pt x="5517604" y="2002840"/>
                </a:lnTo>
                <a:lnTo>
                  <a:pt x="5525592" y="2004453"/>
                </a:lnTo>
                <a:lnTo>
                  <a:pt x="5533580" y="2002840"/>
                </a:lnTo>
                <a:lnTo>
                  <a:pt x="5540095" y="1998446"/>
                </a:lnTo>
                <a:lnTo>
                  <a:pt x="5544502" y="1991931"/>
                </a:lnTo>
                <a:lnTo>
                  <a:pt x="5546115" y="1983943"/>
                </a:lnTo>
                <a:close/>
              </a:path>
              <a:path w="8348980" h="2004695">
                <a:moveTo>
                  <a:pt x="5546115" y="1591259"/>
                </a:moveTo>
                <a:lnTo>
                  <a:pt x="5544502" y="1583270"/>
                </a:lnTo>
                <a:lnTo>
                  <a:pt x="5540095" y="1576743"/>
                </a:lnTo>
                <a:lnTo>
                  <a:pt x="5533580" y="1572348"/>
                </a:lnTo>
                <a:lnTo>
                  <a:pt x="5525592" y="1570736"/>
                </a:lnTo>
                <a:lnTo>
                  <a:pt x="5517604" y="1572348"/>
                </a:lnTo>
                <a:lnTo>
                  <a:pt x="5511076" y="1576743"/>
                </a:lnTo>
                <a:lnTo>
                  <a:pt x="5506682" y="1583270"/>
                </a:lnTo>
                <a:lnTo>
                  <a:pt x="5505069" y="1591259"/>
                </a:lnTo>
                <a:lnTo>
                  <a:pt x="5506682" y="1599247"/>
                </a:lnTo>
                <a:lnTo>
                  <a:pt x="5511076" y="1605762"/>
                </a:lnTo>
                <a:lnTo>
                  <a:pt x="5517604" y="1610169"/>
                </a:lnTo>
                <a:lnTo>
                  <a:pt x="5525592" y="1611782"/>
                </a:lnTo>
                <a:lnTo>
                  <a:pt x="5533580" y="1610169"/>
                </a:lnTo>
                <a:lnTo>
                  <a:pt x="5540095" y="1605762"/>
                </a:lnTo>
                <a:lnTo>
                  <a:pt x="5544502" y="1599247"/>
                </a:lnTo>
                <a:lnTo>
                  <a:pt x="5546115" y="1591259"/>
                </a:lnTo>
                <a:close/>
              </a:path>
              <a:path w="8348980" h="2004695">
                <a:moveTo>
                  <a:pt x="5546115" y="1198575"/>
                </a:moveTo>
                <a:lnTo>
                  <a:pt x="5544502" y="1190586"/>
                </a:lnTo>
                <a:lnTo>
                  <a:pt x="5540095" y="1184059"/>
                </a:lnTo>
                <a:lnTo>
                  <a:pt x="5533580" y="1179664"/>
                </a:lnTo>
                <a:lnTo>
                  <a:pt x="5525592" y="1178052"/>
                </a:lnTo>
                <a:lnTo>
                  <a:pt x="5517604" y="1179664"/>
                </a:lnTo>
                <a:lnTo>
                  <a:pt x="5511076" y="1184059"/>
                </a:lnTo>
                <a:lnTo>
                  <a:pt x="5506682" y="1190586"/>
                </a:lnTo>
                <a:lnTo>
                  <a:pt x="5505069" y="1198575"/>
                </a:lnTo>
                <a:lnTo>
                  <a:pt x="5506682" y="1206563"/>
                </a:lnTo>
                <a:lnTo>
                  <a:pt x="5511076" y="1213078"/>
                </a:lnTo>
                <a:lnTo>
                  <a:pt x="5517604" y="1217485"/>
                </a:lnTo>
                <a:lnTo>
                  <a:pt x="5525592" y="1219098"/>
                </a:lnTo>
                <a:lnTo>
                  <a:pt x="5533580" y="1217485"/>
                </a:lnTo>
                <a:lnTo>
                  <a:pt x="5540095" y="1213078"/>
                </a:lnTo>
                <a:lnTo>
                  <a:pt x="5544502" y="1206563"/>
                </a:lnTo>
                <a:lnTo>
                  <a:pt x="5546115" y="1198575"/>
                </a:lnTo>
                <a:close/>
              </a:path>
              <a:path w="8348980" h="2004695">
                <a:moveTo>
                  <a:pt x="5546115" y="805891"/>
                </a:moveTo>
                <a:lnTo>
                  <a:pt x="5544502" y="797902"/>
                </a:lnTo>
                <a:lnTo>
                  <a:pt x="5540095" y="791387"/>
                </a:lnTo>
                <a:lnTo>
                  <a:pt x="5533580" y="786980"/>
                </a:lnTo>
                <a:lnTo>
                  <a:pt x="5525592" y="785368"/>
                </a:lnTo>
                <a:lnTo>
                  <a:pt x="5517604" y="786980"/>
                </a:lnTo>
                <a:lnTo>
                  <a:pt x="5511076" y="791387"/>
                </a:lnTo>
                <a:lnTo>
                  <a:pt x="5506682" y="797902"/>
                </a:lnTo>
                <a:lnTo>
                  <a:pt x="5505069" y="805891"/>
                </a:lnTo>
                <a:lnTo>
                  <a:pt x="5506682" y="813879"/>
                </a:lnTo>
                <a:lnTo>
                  <a:pt x="5511076" y="820407"/>
                </a:lnTo>
                <a:lnTo>
                  <a:pt x="5517604" y="824801"/>
                </a:lnTo>
                <a:lnTo>
                  <a:pt x="5525592" y="826414"/>
                </a:lnTo>
                <a:lnTo>
                  <a:pt x="5533580" y="824801"/>
                </a:lnTo>
                <a:lnTo>
                  <a:pt x="5540095" y="820407"/>
                </a:lnTo>
                <a:lnTo>
                  <a:pt x="5544502" y="813879"/>
                </a:lnTo>
                <a:lnTo>
                  <a:pt x="5546115" y="805891"/>
                </a:lnTo>
                <a:close/>
              </a:path>
              <a:path w="8348980" h="2004695">
                <a:moveTo>
                  <a:pt x="8348434" y="1983943"/>
                </a:moveTo>
                <a:lnTo>
                  <a:pt x="8346821" y="1975954"/>
                </a:lnTo>
                <a:lnTo>
                  <a:pt x="8342427" y="1969427"/>
                </a:lnTo>
                <a:lnTo>
                  <a:pt x="8335899" y="1965032"/>
                </a:lnTo>
                <a:lnTo>
                  <a:pt x="8327911" y="1963420"/>
                </a:lnTo>
                <a:lnTo>
                  <a:pt x="8319922" y="1965032"/>
                </a:lnTo>
                <a:lnTo>
                  <a:pt x="8313407" y="1969427"/>
                </a:lnTo>
                <a:lnTo>
                  <a:pt x="8309000" y="1975954"/>
                </a:lnTo>
                <a:lnTo>
                  <a:pt x="8307387" y="1983943"/>
                </a:lnTo>
                <a:lnTo>
                  <a:pt x="8309000" y="1991931"/>
                </a:lnTo>
                <a:lnTo>
                  <a:pt x="8313407" y="1998446"/>
                </a:lnTo>
                <a:lnTo>
                  <a:pt x="8319922" y="2002840"/>
                </a:lnTo>
                <a:lnTo>
                  <a:pt x="8327911" y="2004453"/>
                </a:lnTo>
                <a:lnTo>
                  <a:pt x="8335899" y="2002840"/>
                </a:lnTo>
                <a:lnTo>
                  <a:pt x="8342427" y="1998446"/>
                </a:lnTo>
                <a:lnTo>
                  <a:pt x="8346821" y="1991931"/>
                </a:lnTo>
                <a:lnTo>
                  <a:pt x="8348434" y="1983943"/>
                </a:lnTo>
                <a:close/>
              </a:path>
              <a:path w="8348980" h="2004695">
                <a:moveTo>
                  <a:pt x="8348434" y="1591259"/>
                </a:moveTo>
                <a:lnTo>
                  <a:pt x="8346821" y="1583270"/>
                </a:lnTo>
                <a:lnTo>
                  <a:pt x="8342427" y="1576743"/>
                </a:lnTo>
                <a:lnTo>
                  <a:pt x="8335899" y="1572348"/>
                </a:lnTo>
                <a:lnTo>
                  <a:pt x="8327911" y="1570736"/>
                </a:lnTo>
                <a:lnTo>
                  <a:pt x="8319922" y="1572348"/>
                </a:lnTo>
                <a:lnTo>
                  <a:pt x="8313407" y="1576743"/>
                </a:lnTo>
                <a:lnTo>
                  <a:pt x="8309000" y="1583270"/>
                </a:lnTo>
                <a:lnTo>
                  <a:pt x="8307387" y="1591259"/>
                </a:lnTo>
                <a:lnTo>
                  <a:pt x="8309000" y="1599247"/>
                </a:lnTo>
                <a:lnTo>
                  <a:pt x="8313407" y="1605762"/>
                </a:lnTo>
                <a:lnTo>
                  <a:pt x="8319922" y="1610169"/>
                </a:lnTo>
                <a:lnTo>
                  <a:pt x="8327911" y="1611782"/>
                </a:lnTo>
                <a:lnTo>
                  <a:pt x="8335899" y="1610169"/>
                </a:lnTo>
                <a:lnTo>
                  <a:pt x="8342427" y="1605762"/>
                </a:lnTo>
                <a:lnTo>
                  <a:pt x="8346821" y="1599247"/>
                </a:lnTo>
                <a:lnTo>
                  <a:pt x="8348434" y="1591259"/>
                </a:lnTo>
                <a:close/>
              </a:path>
              <a:path w="8348980" h="2004695">
                <a:moveTo>
                  <a:pt x="8348434" y="1198575"/>
                </a:moveTo>
                <a:lnTo>
                  <a:pt x="8346821" y="1190586"/>
                </a:lnTo>
                <a:lnTo>
                  <a:pt x="8342427" y="1184059"/>
                </a:lnTo>
                <a:lnTo>
                  <a:pt x="8335899" y="1179664"/>
                </a:lnTo>
                <a:lnTo>
                  <a:pt x="8327911" y="1178052"/>
                </a:lnTo>
                <a:lnTo>
                  <a:pt x="8319922" y="1179664"/>
                </a:lnTo>
                <a:lnTo>
                  <a:pt x="8313407" y="1184059"/>
                </a:lnTo>
                <a:lnTo>
                  <a:pt x="8309000" y="1190586"/>
                </a:lnTo>
                <a:lnTo>
                  <a:pt x="8307387" y="1198575"/>
                </a:lnTo>
                <a:lnTo>
                  <a:pt x="8309000" y="1206563"/>
                </a:lnTo>
                <a:lnTo>
                  <a:pt x="8313407" y="1213078"/>
                </a:lnTo>
                <a:lnTo>
                  <a:pt x="8319922" y="1217485"/>
                </a:lnTo>
                <a:lnTo>
                  <a:pt x="8327911" y="1219098"/>
                </a:lnTo>
                <a:lnTo>
                  <a:pt x="8335899" y="1217485"/>
                </a:lnTo>
                <a:lnTo>
                  <a:pt x="8342427" y="1213078"/>
                </a:lnTo>
                <a:lnTo>
                  <a:pt x="8346821" y="1206563"/>
                </a:lnTo>
                <a:lnTo>
                  <a:pt x="8348434" y="1198575"/>
                </a:lnTo>
                <a:close/>
              </a:path>
              <a:path w="8348980" h="2004695">
                <a:moveTo>
                  <a:pt x="8348434" y="805891"/>
                </a:moveTo>
                <a:lnTo>
                  <a:pt x="8346821" y="797902"/>
                </a:lnTo>
                <a:lnTo>
                  <a:pt x="8342427" y="791387"/>
                </a:lnTo>
                <a:lnTo>
                  <a:pt x="8335899" y="786980"/>
                </a:lnTo>
                <a:lnTo>
                  <a:pt x="8327911" y="785368"/>
                </a:lnTo>
                <a:lnTo>
                  <a:pt x="8319922" y="786980"/>
                </a:lnTo>
                <a:lnTo>
                  <a:pt x="8313407" y="791387"/>
                </a:lnTo>
                <a:lnTo>
                  <a:pt x="8309000" y="797902"/>
                </a:lnTo>
                <a:lnTo>
                  <a:pt x="8307387" y="805891"/>
                </a:lnTo>
                <a:lnTo>
                  <a:pt x="8309000" y="813879"/>
                </a:lnTo>
                <a:lnTo>
                  <a:pt x="8313407" y="820407"/>
                </a:lnTo>
                <a:lnTo>
                  <a:pt x="8319922" y="824801"/>
                </a:lnTo>
                <a:lnTo>
                  <a:pt x="8327911" y="826414"/>
                </a:lnTo>
                <a:lnTo>
                  <a:pt x="8335899" y="824801"/>
                </a:lnTo>
                <a:lnTo>
                  <a:pt x="8342427" y="820407"/>
                </a:lnTo>
                <a:lnTo>
                  <a:pt x="8346821" y="813879"/>
                </a:lnTo>
                <a:lnTo>
                  <a:pt x="8348434" y="805891"/>
                </a:lnTo>
                <a:close/>
              </a:path>
              <a:path w="8348980" h="2004695">
                <a:moveTo>
                  <a:pt x="8348434" y="413207"/>
                </a:moveTo>
                <a:lnTo>
                  <a:pt x="8346821" y="405218"/>
                </a:lnTo>
                <a:lnTo>
                  <a:pt x="8342427" y="398691"/>
                </a:lnTo>
                <a:lnTo>
                  <a:pt x="8335899" y="394296"/>
                </a:lnTo>
                <a:lnTo>
                  <a:pt x="8327911" y="392684"/>
                </a:lnTo>
                <a:lnTo>
                  <a:pt x="8319922" y="394296"/>
                </a:lnTo>
                <a:lnTo>
                  <a:pt x="8313407" y="398691"/>
                </a:lnTo>
                <a:lnTo>
                  <a:pt x="8309000" y="405218"/>
                </a:lnTo>
                <a:lnTo>
                  <a:pt x="8307387" y="413207"/>
                </a:lnTo>
                <a:lnTo>
                  <a:pt x="8309000" y="421195"/>
                </a:lnTo>
                <a:lnTo>
                  <a:pt x="8313407" y="427710"/>
                </a:lnTo>
                <a:lnTo>
                  <a:pt x="8319922" y="432104"/>
                </a:lnTo>
                <a:lnTo>
                  <a:pt x="8327911" y="433717"/>
                </a:lnTo>
                <a:lnTo>
                  <a:pt x="8335899" y="432104"/>
                </a:lnTo>
                <a:lnTo>
                  <a:pt x="8342427" y="427710"/>
                </a:lnTo>
                <a:lnTo>
                  <a:pt x="8346821" y="421195"/>
                </a:lnTo>
                <a:lnTo>
                  <a:pt x="8348434" y="413207"/>
                </a:lnTo>
                <a:close/>
              </a:path>
              <a:path w="8348980" h="2004695">
                <a:moveTo>
                  <a:pt x="8348434" y="20523"/>
                </a:moveTo>
                <a:lnTo>
                  <a:pt x="8346821" y="12534"/>
                </a:lnTo>
                <a:lnTo>
                  <a:pt x="8342427" y="6007"/>
                </a:lnTo>
                <a:lnTo>
                  <a:pt x="8335899" y="1612"/>
                </a:lnTo>
                <a:lnTo>
                  <a:pt x="8327911" y="0"/>
                </a:lnTo>
                <a:lnTo>
                  <a:pt x="8319922" y="1612"/>
                </a:lnTo>
                <a:lnTo>
                  <a:pt x="8313407" y="6007"/>
                </a:lnTo>
                <a:lnTo>
                  <a:pt x="8309000" y="12534"/>
                </a:lnTo>
                <a:lnTo>
                  <a:pt x="8307387" y="20523"/>
                </a:lnTo>
                <a:lnTo>
                  <a:pt x="8309000" y="28511"/>
                </a:lnTo>
                <a:lnTo>
                  <a:pt x="8313407" y="35026"/>
                </a:lnTo>
                <a:lnTo>
                  <a:pt x="8319922" y="39433"/>
                </a:lnTo>
                <a:lnTo>
                  <a:pt x="8327911" y="41046"/>
                </a:lnTo>
                <a:lnTo>
                  <a:pt x="8335899" y="39433"/>
                </a:lnTo>
                <a:lnTo>
                  <a:pt x="8342427" y="35026"/>
                </a:lnTo>
                <a:lnTo>
                  <a:pt x="8346821" y="28511"/>
                </a:lnTo>
                <a:lnTo>
                  <a:pt x="8348434" y="20523"/>
                </a:lnTo>
                <a:close/>
              </a:path>
            </a:pathLst>
          </a:custGeom>
          <a:solidFill>
            <a:srgbClr val="968885"/>
          </a:solidFill>
        </p:spPr>
        <p:txBody>
          <a:bodyPr wrap="square" lIns="0" tIns="0" rIns="0" bIns="0" rtlCol="0"/>
          <a:lstStyle/>
          <a:p>
            <a:endParaRPr sz="921"/>
          </a:p>
        </p:txBody>
      </p:sp>
      <p:sp>
        <p:nvSpPr>
          <p:cNvPr id="30" name="bg object 30"/>
          <p:cNvSpPr/>
          <p:nvPr/>
        </p:nvSpPr>
        <p:spPr>
          <a:xfrm>
            <a:off x="825498" y="1475201"/>
            <a:ext cx="340036" cy="286724"/>
          </a:xfrm>
          <a:custGeom>
            <a:avLst/>
            <a:gdLst/>
            <a:ahLst/>
            <a:cxnLst/>
            <a:rect l="l" t="t" r="r" b="b"/>
            <a:pathLst>
              <a:path w="560705"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58B8DE"/>
          </a:solidFill>
        </p:spPr>
        <p:txBody>
          <a:bodyPr wrap="square" lIns="0" tIns="0" rIns="0" bIns="0" rtlCol="0"/>
          <a:lstStyle/>
          <a:p>
            <a:endParaRPr sz="921"/>
          </a:p>
        </p:txBody>
      </p:sp>
      <p:sp>
        <p:nvSpPr>
          <p:cNvPr id="31" name="bg object 31"/>
          <p:cNvSpPr/>
          <p:nvPr/>
        </p:nvSpPr>
        <p:spPr>
          <a:xfrm>
            <a:off x="1259419" y="1475201"/>
            <a:ext cx="340036" cy="286724"/>
          </a:xfrm>
          <a:custGeom>
            <a:avLst/>
            <a:gdLst/>
            <a:ahLst/>
            <a:cxnLst/>
            <a:rect l="l" t="t" r="r" b="b"/>
            <a:pathLst>
              <a:path w="560705"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45ACBA"/>
          </a:solidFill>
        </p:spPr>
        <p:txBody>
          <a:bodyPr wrap="square" lIns="0" tIns="0" rIns="0" bIns="0" rtlCol="0"/>
          <a:lstStyle/>
          <a:p>
            <a:endParaRPr sz="921"/>
          </a:p>
        </p:txBody>
      </p:sp>
      <p:sp>
        <p:nvSpPr>
          <p:cNvPr id="32" name="bg object 32"/>
          <p:cNvSpPr/>
          <p:nvPr/>
        </p:nvSpPr>
        <p:spPr>
          <a:xfrm>
            <a:off x="1693345" y="1475201"/>
            <a:ext cx="340036" cy="286724"/>
          </a:xfrm>
          <a:custGeom>
            <a:avLst/>
            <a:gdLst/>
            <a:ahLst/>
            <a:cxnLst/>
            <a:rect l="l" t="t" r="r" b="b"/>
            <a:pathLst>
              <a:path w="560704"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AABFA9"/>
          </a:solidFill>
        </p:spPr>
        <p:txBody>
          <a:bodyPr wrap="square" lIns="0" tIns="0" rIns="0" bIns="0" rtlCol="0"/>
          <a:lstStyle/>
          <a:p>
            <a:endParaRPr sz="921"/>
          </a:p>
        </p:txBody>
      </p:sp>
      <p:sp>
        <p:nvSpPr>
          <p:cNvPr id="33" name="bg object 33"/>
          <p:cNvSpPr/>
          <p:nvPr/>
        </p:nvSpPr>
        <p:spPr>
          <a:xfrm>
            <a:off x="2131500" y="1475201"/>
            <a:ext cx="340036" cy="286724"/>
          </a:xfrm>
          <a:custGeom>
            <a:avLst/>
            <a:gdLst/>
            <a:ahLst/>
            <a:cxnLst/>
            <a:rect l="l" t="t" r="r" b="b"/>
            <a:pathLst>
              <a:path w="560704"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AAA03C"/>
          </a:solidFill>
        </p:spPr>
        <p:txBody>
          <a:bodyPr wrap="square" lIns="0" tIns="0" rIns="0" bIns="0" rtlCol="0"/>
          <a:lstStyle/>
          <a:p>
            <a:endParaRPr sz="921"/>
          </a:p>
        </p:txBody>
      </p:sp>
      <p:sp>
        <p:nvSpPr>
          <p:cNvPr id="34" name="bg object 34"/>
          <p:cNvSpPr/>
          <p:nvPr/>
        </p:nvSpPr>
        <p:spPr>
          <a:xfrm>
            <a:off x="2565420" y="1475201"/>
            <a:ext cx="340036" cy="286724"/>
          </a:xfrm>
          <a:custGeom>
            <a:avLst/>
            <a:gdLst/>
            <a:ahLst/>
            <a:cxnLst/>
            <a:rect l="l" t="t" r="r" b="b"/>
            <a:pathLst>
              <a:path w="560704"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E2AF3F"/>
          </a:solidFill>
        </p:spPr>
        <p:txBody>
          <a:bodyPr wrap="square" lIns="0" tIns="0" rIns="0" bIns="0" rtlCol="0"/>
          <a:lstStyle/>
          <a:p>
            <a:endParaRPr sz="921"/>
          </a:p>
        </p:txBody>
      </p:sp>
      <p:sp>
        <p:nvSpPr>
          <p:cNvPr id="35" name="bg object 35"/>
          <p:cNvSpPr/>
          <p:nvPr/>
        </p:nvSpPr>
        <p:spPr>
          <a:xfrm>
            <a:off x="3000404" y="1475201"/>
            <a:ext cx="340036" cy="286724"/>
          </a:xfrm>
          <a:custGeom>
            <a:avLst/>
            <a:gdLst/>
            <a:ahLst/>
            <a:cxnLst/>
            <a:rect l="l" t="t" r="r" b="b"/>
            <a:pathLst>
              <a:path w="560704" h="560704">
                <a:moveTo>
                  <a:pt x="280098" y="0"/>
                </a:moveTo>
                <a:lnTo>
                  <a:pt x="234665" y="3665"/>
                </a:lnTo>
                <a:lnTo>
                  <a:pt x="191566" y="14279"/>
                </a:lnTo>
                <a:lnTo>
                  <a:pt x="151378" y="31262"/>
                </a:lnTo>
                <a:lnTo>
                  <a:pt x="114677" y="54040"/>
                </a:lnTo>
                <a:lnTo>
                  <a:pt x="82040" y="82036"/>
                </a:lnTo>
                <a:lnTo>
                  <a:pt x="54043" y="114672"/>
                </a:lnTo>
                <a:lnTo>
                  <a:pt x="31264" y="151372"/>
                </a:lnTo>
                <a:lnTo>
                  <a:pt x="14279" y="191559"/>
                </a:lnTo>
                <a:lnTo>
                  <a:pt x="3666" y="234658"/>
                </a:lnTo>
                <a:lnTo>
                  <a:pt x="0" y="280090"/>
                </a:lnTo>
                <a:lnTo>
                  <a:pt x="3666" y="325523"/>
                </a:lnTo>
                <a:lnTo>
                  <a:pt x="14279" y="368622"/>
                </a:lnTo>
                <a:lnTo>
                  <a:pt x="31264" y="408811"/>
                </a:lnTo>
                <a:lnTo>
                  <a:pt x="54043" y="445512"/>
                </a:lnTo>
                <a:lnTo>
                  <a:pt x="82040" y="478149"/>
                </a:lnTo>
                <a:lnTo>
                  <a:pt x="114677" y="506146"/>
                </a:lnTo>
                <a:lnTo>
                  <a:pt x="151378" y="528925"/>
                </a:lnTo>
                <a:lnTo>
                  <a:pt x="191566" y="545909"/>
                </a:lnTo>
                <a:lnTo>
                  <a:pt x="234665" y="556523"/>
                </a:lnTo>
                <a:lnTo>
                  <a:pt x="280098" y="560189"/>
                </a:lnTo>
                <a:lnTo>
                  <a:pt x="325531" y="556523"/>
                </a:lnTo>
                <a:lnTo>
                  <a:pt x="368630" y="545909"/>
                </a:lnTo>
                <a:lnTo>
                  <a:pt x="408819" y="528925"/>
                </a:lnTo>
                <a:lnTo>
                  <a:pt x="445520" y="506146"/>
                </a:lnTo>
                <a:lnTo>
                  <a:pt x="478157" y="478149"/>
                </a:lnTo>
                <a:lnTo>
                  <a:pt x="506154" y="445512"/>
                </a:lnTo>
                <a:lnTo>
                  <a:pt x="528932" y="408811"/>
                </a:lnTo>
                <a:lnTo>
                  <a:pt x="545917" y="368622"/>
                </a:lnTo>
                <a:lnTo>
                  <a:pt x="556531" y="325523"/>
                </a:lnTo>
                <a:lnTo>
                  <a:pt x="560197" y="280090"/>
                </a:lnTo>
                <a:lnTo>
                  <a:pt x="556531" y="234658"/>
                </a:lnTo>
                <a:lnTo>
                  <a:pt x="545917" y="191559"/>
                </a:lnTo>
                <a:lnTo>
                  <a:pt x="528932" y="151372"/>
                </a:lnTo>
                <a:lnTo>
                  <a:pt x="506154" y="114672"/>
                </a:lnTo>
                <a:lnTo>
                  <a:pt x="478157" y="82036"/>
                </a:lnTo>
                <a:lnTo>
                  <a:pt x="445520" y="54040"/>
                </a:lnTo>
                <a:lnTo>
                  <a:pt x="408819" y="31262"/>
                </a:lnTo>
                <a:lnTo>
                  <a:pt x="368630" y="14279"/>
                </a:lnTo>
                <a:lnTo>
                  <a:pt x="325531" y="3665"/>
                </a:lnTo>
                <a:lnTo>
                  <a:pt x="280098" y="0"/>
                </a:lnTo>
                <a:close/>
              </a:path>
            </a:pathLst>
          </a:custGeom>
          <a:solidFill>
            <a:srgbClr val="FEBC11"/>
          </a:solidFill>
        </p:spPr>
        <p:txBody>
          <a:bodyPr wrap="square" lIns="0" tIns="0" rIns="0" bIns="0" rtlCol="0"/>
          <a:lstStyle/>
          <a:p>
            <a:endParaRPr sz="921"/>
          </a:p>
        </p:txBody>
      </p:sp>
      <p:sp>
        <p:nvSpPr>
          <p:cNvPr id="2" name="Holder 2"/>
          <p:cNvSpPr>
            <a:spLocks noGrp="1"/>
          </p:cNvSpPr>
          <p:nvPr>
            <p:ph type="title"/>
          </p:nvPr>
        </p:nvSpPr>
        <p:spPr>
          <a:xfrm>
            <a:off x="798828" y="435789"/>
            <a:ext cx="10594345" cy="553998"/>
          </a:xfrm>
          <a:prstGeom prst="rect">
            <a:avLst/>
          </a:prstGeom>
        </p:spPr>
        <p:txBody>
          <a:bodyPr wrap="square" lIns="0" tIns="0" rIns="0" bIns="0">
            <a:spAutoFit/>
          </a:bodyPr>
          <a:lstStyle>
            <a:lvl1pPr>
              <a:defRPr sz="3600" b="1" i="0">
                <a:solidFill>
                  <a:srgbClr val="A79E90"/>
                </a:solidFill>
                <a:latin typeface="Arial" panose="020B0604020202020204"/>
                <a:cs typeface="Arial" panose="020B0604020202020204"/>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3/2024</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80626036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txStyles>
    <p:titleStyle>
      <a:lvl1pPr>
        <a:defRPr>
          <a:latin typeface="+mj-lt"/>
          <a:ea typeface="+mj-ea"/>
          <a:cs typeface="+mj-cs"/>
        </a:defRPr>
      </a:lvl1pPr>
    </p:titleStyle>
    <p:bodyStyle>
      <a:lvl1pPr marL="0">
        <a:defRPr>
          <a:latin typeface="+mn-lt"/>
          <a:ea typeface="+mn-ea"/>
          <a:cs typeface="+mn-cs"/>
        </a:defRPr>
      </a:lvl1pPr>
      <a:lvl2pPr marL="233812">
        <a:defRPr>
          <a:latin typeface="+mn-lt"/>
          <a:ea typeface="+mn-ea"/>
          <a:cs typeface="+mn-cs"/>
        </a:defRPr>
      </a:lvl2pPr>
      <a:lvl3pPr marL="467624">
        <a:defRPr>
          <a:latin typeface="+mn-lt"/>
          <a:ea typeface="+mn-ea"/>
          <a:cs typeface="+mn-cs"/>
        </a:defRPr>
      </a:lvl3pPr>
      <a:lvl4pPr marL="701436">
        <a:defRPr>
          <a:latin typeface="+mn-lt"/>
          <a:ea typeface="+mn-ea"/>
          <a:cs typeface="+mn-cs"/>
        </a:defRPr>
      </a:lvl4pPr>
      <a:lvl5pPr marL="935248">
        <a:defRPr>
          <a:latin typeface="+mn-lt"/>
          <a:ea typeface="+mn-ea"/>
          <a:cs typeface="+mn-cs"/>
        </a:defRPr>
      </a:lvl5pPr>
      <a:lvl6pPr marL="1169060">
        <a:defRPr>
          <a:latin typeface="+mn-lt"/>
          <a:ea typeface="+mn-ea"/>
          <a:cs typeface="+mn-cs"/>
        </a:defRPr>
      </a:lvl6pPr>
      <a:lvl7pPr marL="1402872">
        <a:defRPr>
          <a:latin typeface="+mn-lt"/>
          <a:ea typeface="+mn-ea"/>
          <a:cs typeface="+mn-cs"/>
        </a:defRPr>
      </a:lvl7pPr>
      <a:lvl8pPr marL="1636685">
        <a:defRPr>
          <a:latin typeface="+mn-lt"/>
          <a:ea typeface="+mn-ea"/>
          <a:cs typeface="+mn-cs"/>
        </a:defRPr>
      </a:lvl8pPr>
      <a:lvl9pPr marL="1870497">
        <a:defRPr>
          <a:latin typeface="+mn-lt"/>
          <a:ea typeface="+mn-ea"/>
          <a:cs typeface="+mn-cs"/>
        </a:defRPr>
      </a:lvl9pPr>
    </p:bodyStyle>
    <p:otherStyle>
      <a:lvl1pPr marL="0">
        <a:defRPr>
          <a:latin typeface="+mn-lt"/>
          <a:ea typeface="+mn-ea"/>
          <a:cs typeface="+mn-cs"/>
        </a:defRPr>
      </a:lvl1pPr>
      <a:lvl2pPr marL="233812">
        <a:defRPr>
          <a:latin typeface="+mn-lt"/>
          <a:ea typeface="+mn-ea"/>
          <a:cs typeface="+mn-cs"/>
        </a:defRPr>
      </a:lvl2pPr>
      <a:lvl3pPr marL="467624">
        <a:defRPr>
          <a:latin typeface="+mn-lt"/>
          <a:ea typeface="+mn-ea"/>
          <a:cs typeface="+mn-cs"/>
        </a:defRPr>
      </a:lvl3pPr>
      <a:lvl4pPr marL="701436">
        <a:defRPr>
          <a:latin typeface="+mn-lt"/>
          <a:ea typeface="+mn-ea"/>
          <a:cs typeface="+mn-cs"/>
        </a:defRPr>
      </a:lvl4pPr>
      <a:lvl5pPr marL="935248">
        <a:defRPr>
          <a:latin typeface="+mn-lt"/>
          <a:ea typeface="+mn-ea"/>
          <a:cs typeface="+mn-cs"/>
        </a:defRPr>
      </a:lvl5pPr>
      <a:lvl6pPr marL="1169060">
        <a:defRPr>
          <a:latin typeface="+mn-lt"/>
          <a:ea typeface="+mn-ea"/>
          <a:cs typeface="+mn-cs"/>
        </a:defRPr>
      </a:lvl6pPr>
      <a:lvl7pPr marL="1402872">
        <a:defRPr>
          <a:latin typeface="+mn-lt"/>
          <a:ea typeface="+mn-ea"/>
          <a:cs typeface="+mn-cs"/>
        </a:defRPr>
      </a:lvl7pPr>
      <a:lvl8pPr marL="1636685">
        <a:defRPr>
          <a:latin typeface="+mn-lt"/>
          <a:ea typeface="+mn-ea"/>
          <a:cs typeface="+mn-cs"/>
        </a:defRPr>
      </a:lvl8pPr>
      <a:lvl9pPr marL="1870497">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28.png"/><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Layout" Target="../diagrams/layout12.xml"/><Relationship Id="rId7" Type="http://schemas.openxmlformats.org/officeDocument/2006/relationships/image" Target="../media/image30.png"/><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 Id="rId9" Type="http://schemas.openxmlformats.org/officeDocument/2006/relationships/image" Target="../media/image32.png"/></Relationships>
</file>

<file path=ppt/slides/_rels/slide3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Layout" Target="../diagrams/layout14.xml"/><Relationship Id="rId7" Type="http://schemas.openxmlformats.org/officeDocument/2006/relationships/image" Target="../media/image41.png"/><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FDF0794-1B86-42B2-B8C7-F60123E638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726" cy="685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F0502020204030204"/>
              <a:ea typeface="+mn-ea"/>
              <a:cs typeface="+mn-cs"/>
            </a:endParaRPr>
          </a:p>
        </p:txBody>
      </p:sp>
      <p:pic>
        <p:nvPicPr>
          <p:cNvPr id="4" name="Picture 3" descr="A close up of a piece of paper with a pencil laying on top">
            <a:extLst>
              <a:ext uri="{FF2B5EF4-FFF2-40B4-BE49-F238E27FC236}">
                <a16:creationId xmlns:a16="http://schemas.microsoft.com/office/drawing/2014/main" id="{65810330-F0B5-43C9-BC34-094FFB5C052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35" name="Rectangle 34">
            <a:extLst>
              <a:ext uri="{FF2B5EF4-FFF2-40B4-BE49-F238E27FC236}">
                <a16:creationId xmlns:a16="http://schemas.microsoft.com/office/drawing/2014/main" id="{C5373426-E26E-431D-959C-5DB96C0B6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607" y="1238442"/>
            <a:ext cx="3635926" cy="435575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F0502020204030204"/>
              <a:ea typeface="+mn-ea"/>
              <a:cs typeface="+mn-cs"/>
            </a:endParaRPr>
          </a:p>
        </p:txBody>
      </p:sp>
      <p:sp>
        <p:nvSpPr>
          <p:cNvPr id="2" name="Title 1">
            <a:extLst>
              <a:ext uri="{FF2B5EF4-FFF2-40B4-BE49-F238E27FC236}">
                <a16:creationId xmlns:a16="http://schemas.microsoft.com/office/drawing/2014/main" id="{9AB2EA78-AEB3-469B-9025-3B17201A457B}"/>
              </a:ext>
            </a:extLst>
          </p:cNvPr>
          <p:cNvSpPr>
            <a:spLocks noGrp="1"/>
          </p:cNvSpPr>
          <p:nvPr>
            <p:ph type="ctrTitle"/>
          </p:nvPr>
        </p:nvSpPr>
        <p:spPr>
          <a:xfrm>
            <a:off x="8123416" y="1475234"/>
            <a:ext cx="3214307" cy="2326735"/>
          </a:xfrm>
        </p:spPr>
        <p:txBody>
          <a:bodyPr anchor="b">
            <a:normAutofit/>
          </a:bodyPr>
          <a:lstStyle/>
          <a:p>
            <a:br>
              <a:rPr lang="en-US" sz="2800" dirty="0"/>
            </a:br>
            <a:r>
              <a:rPr lang="en-US" sz="2800" dirty="0"/>
              <a:t>Natural Language Processing</a:t>
            </a:r>
            <a:endParaRPr lang="en-US" sz="4400" dirty="0">
              <a:solidFill>
                <a:schemeClr val="tx1"/>
              </a:solidFill>
            </a:endParaRPr>
          </a:p>
        </p:txBody>
      </p:sp>
      <p:sp>
        <p:nvSpPr>
          <p:cNvPr id="3" name="Subtitle 2">
            <a:extLst>
              <a:ext uri="{FF2B5EF4-FFF2-40B4-BE49-F238E27FC236}">
                <a16:creationId xmlns:a16="http://schemas.microsoft.com/office/drawing/2014/main" id="{255E1F2F-E259-4EA8-9FFD-3A10AF541859}"/>
              </a:ext>
            </a:extLst>
          </p:cNvPr>
          <p:cNvSpPr>
            <a:spLocks noGrp="1"/>
          </p:cNvSpPr>
          <p:nvPr>
            <p:ph type="subTitle" idx="1"/>
          </p:nvPr>
        </p:nvSpPr>
        <p:spPr>
          <a:xfrm>
            <a:off x="8127750" y="4301412"/>
            <a:ext cx="3205640" cy="1081350"/>
          </a:xfrm>
        </p:spPr>
        <p:txBody>
          <a:bodyPr anchor="t">
            <a:noAutofit/>
          </a:bodyPr>
          <a:lstStyle/>
          <a:p>
            <a:pPr>
              <a:lnSpc>
                <a:spcPct val="100000"/>
              </a:lnSpc>
              <a:spcBef>
                <a:spcPts val="0"/>
              </a:spcBef>
            </a:pPr>
            <a:endParaRPr lang="en-US" sz="1100" dirty="0"/>
          </a:p>
          <a:p>
            <a:pPr>
              <a:lnSpc>
                <a:spcPct val="100000"/>
              </a:lnSpc>
              <a:spcBef>
                <a:spcPts val="0"/>
              </a:spcBef>
            </a:pPr>
            <a:r>
              <a:rPr lang="en-US" sz="1100" dirty="0" err="1"/>
              <a:t>Dr.R.Uma</a:t>
            </a:r>
            <a:r>
              <a:rPr lang="en-US" sz="1100" dirty="0"/>
              <a:t> Maheswari</a:t>
            </a:r>
          </a:p>
          <a:p>
            <a:pPr>
              <a:lnSpc>
                <a:spcPct val="100000"/>
              </a:lnSpc>
              <a:spcBef>
                <a:spcPts val="0"/>
              </a:spcBef>
            </a:pPr>
            <a:r>
              <a:rPr lang="en-US" sz="1100" dirty="0"/>
              <a:t>Data Scientist</a:t>
            </a:r>
          </a:p>
          <a:p>
            <a:pPr>
              <a:lnSpc>
                <a:spcPct val="100000"/>
              </a:lnSpc>
              <a:spcBef>
                <a:spcPts val="0"/>
              </a:spcBef>
            </a:pPr>
            <a:r>
              <a:rPr lang="en-US" sz="1100" dirty="0" err="1"/>
              <a:t>nybl</a:t>
            </a:r>
            <a:endParaRPr lang="en-US" sz="1100" dirty="0"/>
          </a:p>
          <a:p>
            <a:pPr>
              <a:lnSpc>
                <a:spcPct val="100000"/>
              </a:lnSpc>
            </a:pPr>
            <a:endParaRPr lang="en-US" sz="1100" dirty="0"/>
          </a:p>
        </p:txBody>
      </p:sp>
      <p:cxnSp>
        <p:nvCxnSpPr>
          <p:cNvPr id="37" name="Straight Connector 36">
            <a:extLst>
              <a:ext uri="{FF2B5EF4-FFF2-40B4-BE49-F238E27FC236}">
                <a16:creationId xmlns:a16="http://schemas.microsoft.com/office/drawing/2014/main" id="{96D07482-83A3-4451-943C-B469610829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76090" y="4508519"/>
            <a:ext cx="31089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DC90921-9082-491B-940E-827D679F34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rgbClr val="262626">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Tree>
    <p:extLst>
      <p:ext uri="{BB962C8B-B14F-4D97-AF65-F5344CB8AC3E}">
        <p14:creationId xmlns:p14="http://schemas.microsoft.com/office/powerpoint/2010/main" val="19314396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21373-42B9-7863-EA49-1E6504D51DD5}"/>
              </a:ext>
            </a:extLst>
          </p:cNvPr>
          <p:cNvSpPr>
            <a:spLocks noGrp="1"/>
          </p:cNvSpPr>
          <p:nvPr>
            <p:ph type="title"/>
          </p:nvPr>
        </p:nvSpPr>
        <p:spPr>
          <a:xfrm>
            <a:off x="1097280" y="286604"/>
            <a:ext cx="10058400" cy="614634"/>
          </a:xfrm>
        </p:spPr>
        <p:txBody>
          <a:bodyPr>
            <a:normAutofit fontScale="90000"/>
          </a:bodyPr>
          <a:lstStyle/>
          <a:p>
            <a:r>
              <a:rPr lang="en-US"/>
              <a:t>Five Phases of NLP</a:t>
            </a:r>
            <a:endParaRPr lang="en-IN" dirty="0"/>
          </a:p>
        </p:txBody>
      </p:sp>
      <p:grpSp>
        <p:nvGrpSpPr>
          <p:cNvPr id="31" name="Group 30">
            <a:extLst>
              <a:ext uri="{FF2B5EF4-FFF2-40B4-BE49-F238E27FC236}">
                <a16:creationId xmlns:a16="http://schemas.microsoft.com/office/drawing/2014/main" id="{C3DC15E5-7170-88DF-88DF-B58CC7EE2620}"/>
              </a:ext>
            </a:extLst>
          </p:cNvPr>
          <p:cNvGrpSpPr/>
          <p:nvPr/>
        </p:nvGrpSpPr>
        <p:grpSpPr>
          <a:xfrm>
            <a:off x="1097280" y="947781"/>
            <a:ext cx="11064838" cy="5542609"/>
            <a:chOff x="1097280" y="947781"/>
            <a:chExt cx="11064838" cy="5542609"/>
          </a:xfrm>
        </p:grpSpPr>
        <p:sp>
          <p:nvSpPr>
            <p:cNvPr id="4" name="Rectangle: Rounded Corners 3">
              <a:extLst>
                <a:ext uri="{FF2B5EF4-FFF2-40B4-BE49-F238E27FC236}">
                  <a16:creationId xmlns:a16="http://schemas.microsoft.com/office/drawing/2014/main" id="{F6814220-ED5A-B81B-DCB4-0CCC2315F590}"/>
                </a:ext>
              </a:extLst>
            </p:cNvPr>
            <p:cNvSpPr/>
            <p:nvPr/>
          </p:nvSpPr>
          <p:spPr>
            <a:xfrm>
              <a:off x="1676392" y="2248104"/>
              <a:ext cx="2844800" cy="754797"/>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yntactic Analysis</a:t>
              </a:r>
              <a:endParaRPr lang="en-IN" dirty="0"/>
            </a:p>
          </p:txBody>
        </p:sp>
        <p:cxnSp>
          <p:nvCxnSpPr>
            <p:cNvPr id="6" name="Straight Arrow Connector 5">
              <a:extLst>
                <a:ext uri="{FF2B5EF4-FFF2-40B4-BE49-F238E27FC236}">
                  <a16:creationId xmlns:a16="http://schemas.microsoft.com/office/drawing/2014/main" id="{1576F237-041A-67DB-4BFA-4DBAC2E5D8E2}"/>
                </a:ext>
              </a:extLst>
            </p:cNvPr>
            <p:cNvCxnSpPr/>
            <p:nvPr/>
          </p:nvCxnSpPr>
          <p:spPr>
            <a:xfrm>
              <a:off x="3017522" y="3076357"/>
              <a:ext cx="0" cy="352643"/>
            </a:xfrm>
            <a:prstGeom prst="straightConnector1">
              <a:avLst/>
            </a:prstGeom>
            <a:solidFill>
              <a:srgbClr val="0070C0"/>
            </a:solidFill>
            <a:ln w="44450">
              <a:tailEnd type="triangle"/>
            </a:ln>
          </p:spPr>
          <p:style>
            <a:lnRef idx="1">
              <a:schemeClr val="dk1"/>
            </a:lnRef>
            <a:fillRef idx="0">
              <a:schemeClr val="dk1"/>
            </a:fillRef>
            <a:effectRef idx="0">
              <a:schemeClr val="dk1"/>
            </a:effectRef>
            <a:fontRef idx="minor">
              <a:schemeClr val="tx1"/>
            </a:fontRef>
          </p:style>
        </p:cxnSp>
        <p:sp>
          <p:nvSpPr>
            <p:cNvPr id="8" name="Rectangle: Rounded Corners 7">
              <a:extLst>
                <a:ext uri="{FF2B5EF4-FFF2-40B4-BE49-F238E27FC236}">
                  <a16:creationId xmlns:a16="http://schemas.microsoft.com/office/drawing/2014/main" id="{4A09B3F8-0ECA-320D-F8C3-482D28705830}"/>
                </a:ext>
              </a:extLst>
            </p:cNvPr>
            <p:cNvSpPr/>
            <p:nvPr/>
          </p:nvSpPr>
          <p:spPr>
            <a:xfrm>
              <a:off x="1676402" y="3453350"/>
              <a:ext cx="2844791" cy="754797"/>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emantic analysis</a:t>
              </a:r>
              <a:endParaRPr lang="en-IN" dirty="0"/>
            </a:p>
          </p:txBody>
        </p:sp>
        <p:cxnSp>
          <p:nvCxnSpPr>
            <p:cNvPr id="9" name="Straight Arrow Connector 8">
              <a:extLst>
                <a:ext uri="{FF2B5EF4-FFF2-40B4-BE49-F238E27FC236}">
                  <a16:creationId xmlns:a16="http://schemas.microsoft.com/office/drawing/2014/main" id="{E20E15F8-FA12-40ED-E3F6-C66B24CCA317}"/>
                </a:ext>
              </a:extLst>
            </p:cNvPr>
            <p:cNvCxnSpPr/>
            <p:nvPr/>
          </p:nvCxnSpPr>
          <p:spPr>
            <a:xfrm>
              <a:off x="2997202" y="4208147"/>
              <a:ext cx="0" cy="352643"/>
            </a:xfrm>
            <a:prstGeom prst="straightConnector1">
              <a:avLst/>
            </a:prstGeom>
            <a:solidFill>
              <a:srgbClr val="0070C0"/>
            </a:solidFill>
            <a:ln w="44450">
              <a:tailEnd type="triangle"/>
            </a:ln>
          </p:spPr>
          <p:style>
            <a:lnRef idx="1">
              <a:schemeClr val="dk1"/>
            </a:lnRef>
            <a:fillRef idx="0">
              <a:schemeClr val="dk1"/>
            </a:fillRef>
            <a:effectRef idx="0">
              <a:schemeClr val="dk1"/>
            </a:effectRef>
            <a:fontRef idx="minor">
              <a:schemeClr val="tx1"/>
            </a:fontRef>
          </p:style>
        </p:cxnSp>
        <p:sp>
          <p:nvSpPr>
            <p:cNvPr id="11" name="Rectangle: Rounded Corners 10">
              <a:extLst>
                <a:ext uri="{FF2B5EF4-FFF2-40B4-BE49-F238E27FC236}">
                  <a16:creationId xmlns:a16="http://schemas.microsoft.com/office/drawing/2014/main" id="{65DF9D59-5D76-83A4-1EA2-72ED414CB4C7}"/>
                </a:ext>
              </a:extLst>
            </p:cNvPr>
            <p:cNvSpPr/>
            <p:nvPr/>
          </p:nvSpPr>
          <p:spPr>
            <a:xfrm>
              <a:off x="1676401" y="4585140"/>
              <a:ext cx="2844791" cy="641987"/>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iscourse Integration</a:t>
              </a:r>
              <a:endParaRPr lang="en-IN" dirty="0"/>
            </a:p>
          </p:txBody>
        </p:sp>
        <p:cxnSp>
          <p:nvCxnSpPr>
            <p:cNvPr id="12" name="Straight Arrow Connector 11">
              <a:extLst>
                <a:ext uri="{FF2B5EF4-FFF2-40B4-BE49-F238E27FC236}">
                  <a16:creationId xmlns:a16="http://schemas.microsoft.com/office/drawing/2014/main" id="{8FDF5E93-D679-EEA2-D8A6-55BB430B45AD}"/>
                </a:ext>
              </a:extLst>
            </p:cNvPr>
            <p:cNvCxnSpPr/>
            <p:nvPr/>
          </p:nvCxnSpPr>
          <p:spPr>
            <a:xfrm>
              <a:off x="2997202" y="5227127"/>
              <a:ext cx="0" cy="352643"/>
            </a:xfrm>
            <a:prstGeom prst="straightConnector1">
              <a:avLst/>
            </a:prstGeom>
            <a:solidFill>
              <a:srgbClr val="0070C0"/>
            </a:solidFill>
            <a:ln w="44450">
              <a:tailEnd type="triangle"/>
            </a:ln>
          </p:spPr>
          <p:style>
            <a:lnRef idx="1">
              <a:schemeClr val="dk1"/>
            </a:lnRef>
            <a:fillRef idx="0">
              <a:schemeClr val="dk1"/>
            </a:fillRef>
            <a:effectRef idx="0">
              <a:schemeClr val="dk1"/>
            </a:effectRef>
            <a:fontRef idx="minor">
              <a:schemeClr val="tx1"/>
            </a:fontRef>
          </p:style>
        </p:cxnSp>
        <p:sp>
          <p:nvSpPr>
            <p:cNvPr id="15" name="Rectangle: Rounded Corners 14">
              <a:extLst>
                <a:ext uri="{FF2B5EF4-FFF2-40B4-BE49-F238E27FC236}">
                  <a16:creationId xmlns:a16="http://schemas.microsoft.com/office/drawing/2014/main" id="{B6817279-C178-FE51-9253-DB5E5AC549E7}"/>
                </a:ext>
              </a:extLst>
            </p:cNvPr>
            <p:cNvSpPr/>
            <p:nvPr/>
          </p:nvSpPr>
          <p:spPr>
            <a:xfrm>
              <a:off x="1722116" y="5579770"/>
              <a:ext cx="2844789" cy="754797"/>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ragmatic Analysis</a:t>
              </a:r>
              <a:endParaRPr lang="en-IN" dirty="0"/>
            </a:p>
          </p:txBody>
        </p:sp>
        <p:sp>
          <p:nvSpPr>
            <p:cNvPr id="17" name="Rectangle: Rounded Corners 16">
              <a:extLst>
                <a:ext uri="{FF2B5EF4-FFF2-40B4-BE49-F238E27FC236}">
                  <a16:creationId xmlns:a16="http://schemas.microsoft.com/office/drawing/2014/main" id="{8BB9A926-6056-9398-1B80-22B694D56B47}"/>
                </a:ext>
              </a:extLst>
            </p:cNvPr>
            <p:cNvSpPr/>
            <p:nvPr/>
          </p:nvSpPr>
          <p:spPr>
            <a:xfrm>
              <a:off x="1676401" y="1285123"/>
              <a:ext cx="2844791" cy="641987"/>
            </a:xfrm>
            <a:prstGeom prst="round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exical Analysis</a:t>
              </a:r>
              <a:endParaRPr lang="en-IN" dirty="0"/>
            </a:p>
          </p:txBody>
        </p:sp>
        <p:cxnSp>
          <p:nvCxnSpPr>
            <p:cNvPr id="18" name="Straight Arrow Connector 17">
              <a:extLst>
                <a:ext uri="{FF2B5EF4-FFF2-40B4-BE49-F238E27FC236}">
                  <a16:creationId xmlns:a16="http://schemas.microsoft.com/office/drawing/2014/main" id="{FD7A635F-221D-7DEB-CE31-AF62D6066DB1}"/>
                </a:ext>
              </a:extLst>
            </p:cNvPr>
            <p:cNvCxnSpPr/>
            <p:nvPr/>
          </p:nvCxnSpPr>
          <p:spPr>
            <a:xfrm>
              <a:off x="2956562" y="1920217"/>
              <a:ext cx="0" cy="352643"/>
            </a:xfrm>
            <a:prstGeom prst="straightConnector1">
              <a:avLst/>
            </a:prstGeom>
            <a:solidFill>
              <a:srgbClr val="0070C0"/>
            </a:solidFill>
            <a:ln w="44450">
              <a:tailEnd type="triangle"/>
            </a:ln>
          </p:spPr>
          <p:style>
            <a:lnRef idx="1">
              <a:schemeClr val="dk1"/>
            </a:lnRef>
            <a:fillRef idx="0">
              <a:schemeClr val="dk1"/>
            </a:fillRef>
            <a:effectRef idx="0">
              <a:schemeClr val="dk1"/>
            </a:effectRef>
            <a:fontRef idx="minor">
              <a:schemeClr val="tx1"/>
            </a:fontRef>
          </p:style>
        </p:cxnSp>
        <p:sp>
          <p:nvSpPr>
            <p:cNvPr id="19" name="Oval 18">
              <a:extLst>
                <a:ext uri="{FF2B5EF4-FFF2-40B4-BE49-F238E27FC236}">
                  <a16:creationId xmlns:a16="http://schemas.microsoft.com/office/drawing/2014/main" id="{315B6E75-A90C-B9DF-6127-36D483F99DE4}"/>
                </a:ext>
              </a:extLst>
            </p:cNvPr>
            <p:cNvSpPr/>
            <p:nvPr/>
          </p:nvSpPr>
          <p:spPr>
            <a:xfrm>
              <a:off x="1097282" y="1229124"/>
              <a:ext cx="579110" cy="641987"/>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a:t>
              </a:r>
              <a:endParaRPr lang="en-IN" dirty="0"/>
            </a:p>
          </p:txBody>
        </p:sp>
        <p:sp>
          <p:nvSpPr>
            <p:cNvPr id="21" name="Oval 20">
              <a:extLst>
                <a:ext uri="{FF2B5EF4-FFF2-40B4-BE49-F238E27FC236}">
                  <a16:creationId xmlns:a16="http://schemas.microsoft.com/office/drawing/2014/main" id="{BD9720E7-1803-2420-159D-9851254216AB}"/>
                </a:ext>
              </a:extLst>
            </p:cNvPr>
            <p:cNvSpPr/>
            <p:nvPr/>
          </p:nvSpPr>
          <p:spPr>
            <a:xfrm>
              <a:off x="1097282" y="2349598"/>
              <a:ext cx="579108" cy="652147"/>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a:t>
              </a:r>
              <a:endParaRPr lang="en-IN" dirty="0"/>
            </a:p>
          </p:txBody>
        </p:sp>
        <p:sp>
          <p:nvSpPr>
            <p:cNvPr id="22" name="Oval 21">
              <a:extLst>
                <a:ext uri="{FF2B5EF4-FFF2-40B4-BE49-F238E27FC236}">
                  <a16:creationId xmlns:a16="http://schemas.microsoft.com/office/drawing/2014/main" id="{0A01C63A-21D8-C4A3-754A-2DF2A2700442}"/>
                </a:ext>
              </a:extLst>
            </p:cNvPr>
            <p:cNvSpPr/>
            <p:nvPr/>
          </p:nvSpPr>
          <p:spPr>
            <a:xfrm>
              <a:off x="1097282" y="3596640"/>
              <a:ext cx="579110" cy="611507"/>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a:t>
              </a:r>
              <a:endParaRPr lang="en-IN" dirty="0"/>
            </a:p>
          </p:txBody>
        </p:sp>
        <p:sp>
          <p:nvSpPr>
            <p:cNvPr id="23" name="Oval 22">
              <a:extLst>
                <a:ext uri="{FF2B5EF4-FFF2-40B4-BE49-F238E27FC236}">
                  <a16:creationId xmlns:a16="http://schemas.microsoft.com/office/drawing/2014/main" id="{2F80E3E1-804B-879F-7AC0-D550551F4911}"/>
                </a:ext>
              </a:extLst>
            </p:cNvPr>
            <p:cNvSpPr/>
            <p:nvPr/>
          </p:nvSpPr>
          <p:spPr>
            <a:xfrm>
              <a:off x="1097280" y="4583984"/>
              <a:ext cx="579110" cy="592881"/>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4</a:t>
              </a:r>
              <a:endParaRPr lang="en-IN" dirty="0"/>
            </a:p>
          </p:txBody>
        </p:sp>
        <p:sp>
          <p:nvSpPr>
            <p:cNvPr id="25" name="Oval 24">
              <a:extLst>
                <a:ext uri="{FF2B5EF4-FFF2-40B4-BE49-F238E27FC236}">
                  <a16:creationId xmlns:a16="http://schemas.microsoft.com/office/drawing/2014/main" id="{F1961562-1BAD-6AE9-DDD2-E0F56602AFED}"/>
                </a:ext>
              </a:extLst>
            </p:cNvPr>
            <p:cNvSpPr/>
            <p:nvPr/>
          </p:nvSpPr>
          <p:spPr>
            <a:xfrm>
              <a:off x="1097280" y="5781040"/>
              <a:ext cx="624836" cy="553527"/>
            </a:xfrm>
            <a:prstGeom prst="ellipse">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5</a:t>
              </a:r>
              <a:endParaRPr lang="en-IN" dirty="0"/>
            </a:p>
          </p:txBody>
        </p:sp>
        <p:sp>
          <p:nvSpPr>
            <p:cNvPr id="27" name="Arrow: Right 26">
              <a:extLst>
                <a:ext uri="{FF2B5EF4-FFF2-40B4-BE49-F238E27FC236}">
                  <a16:creationId xmlns:a16="http://schemas.microsoft.com/office/drawing/2014/main" id="{8BB7456B-DFFC-BB99-E1CA-D392A092FD86}"/>
                </a:ext>
              </a:extLst>
            </p:cNvPr>
            <p:cNvSpPr/>
            <p:nvPr/>
          </p:nvSpPr>
          <p:spPr>
            <a:xfrm>
              <a:off x="4521192" y="1524193"/>
              <a:ext cx="365768" cy="169998"/>
            </a:xfrm>
            <a:prstGeom prst="rightArrow">
              <a:avLst/>
            </a:prstGeom>
            <a:solidFill>
              <a:schemeClr val="accent3">
                <a:lumMod val="20000"/>
                <a:lumOff val="80000"/>
              </a:schemeClr>
            </a:solidFill>
            <a:ln>
              <a:solidFill>
                <a:schemeClr val="accent3">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28" name="TextBox 27">
              <a:extLst>
                <a:ext uri="{FF2B5EF4-FFF2-40B4-BE49-F238E27FC236}">
                  <a16:creationId xmlns:a16="http://schemas.microsoft.com/office/drawing/2014/main" id="{A66C54CF-BD2B-F475-C309-8B1619D2076D}"/>
                </a:ext>
              </a:extLst>
            </p:cNvPr>
            <p:cNvSpPr txBox="1"/>
            <p:nvPr/>
          </p:nvSpPr>
          <p:spPr>
            <a:xfrm>
              <a:off x="4897119" y="947781"/>
              <a:ext cx="6903713" cy="923330"/>
            </a:xfrm>
            <a:prstGeom prst="rect">
              <a:avLst/>
            </a:prstGeom>
            <a:noFill/>
          </p:spPr>
          <p:txBody>
            <a:bodyPr wrap="square" rtlCol="0">
              <a:spAutoFit/>
            </a:bodyPr>
            <a:lstStyle/>
            <a:p>
              <a:pPr algn="just"/>
              <a:r>
                <a:rPr lang="en-IN" b="0" i="0" dirty="0">
                  <a:solidFill>
                    <a:srgbClr val="121C2D"/>
                  </a:solidFill>
                  <a:effectLst/>
                  <a:latin typeface="Whitney SSm A"/>
                </a:rPr>
                <a:t>Lexical analysis segments texts into units </a:t>
              </a:r>
              <a:r>
                <a:rPr lang="en-US" b="0" i="0" dirty="0">
                  <a:solidFill>
                    <a:srgbClr val="121C2D"/>
                  </a:solidFill>
                  <a:effectLst/>
                  <a:latin typeface="Whitney SSm A"/>
                </a:rPr>
                <a:t>like paragraphs, sentences, phrases, and words. </a:t>
              </a:r>
              <a:r>
                <a:rPr lang="en-US" dirty="0">
                  <a:solidFill>
                    <a:srgbClr val="121C2D"/>
                  </a:solidFill>
                  <a:latin typeface="Whitney SSm A"/>
                </a:rPr>
                <a:t>In this phase , the text split into   </a:t>
              </a:r>
              <a:r>
                <a:rPr lang="en-US" b="0" i="0" dirty="0">
                  <a:solidFill>
                    <a:srgbClr val="121C2D"/>
                  </a:solidFill>
                  <a:effectLst/>
                  <a:latin typeface="Whitney SSm A"/>
                </a:rPr>
                <a:t>meaningful language units (morphemes) that you can’t further divide.</a:t>
              </a:r>
              <a:endParaRPr lang="en-IN" dirty="0"/>
            </a:p>
          </p:txBody>
        </p:sp>
        <p:sp>
          <p:nvSpPr>
            <p:cNvPr id="3" name="Arrow: Right 2">
              <a:extLst>
                <a:ext uri="{FF2B5EF4-FFF2-40B4-BE49-F238E27FC236}">
                  <a16:creationId xmlns:a16="http://schemas.microsoft.com/office/drawing/2014/main" id="{8E938A19-2501-5769-0AB9-7C4629FD85B0}"/>
                </a:ext>
              </a:extLst>
            </p:cNvPr>
            <p:cNvSpPr/>
            <p:nvPr/>
          </p:nvSpPr>
          <p:spPr>
            <a:xfrm>
              <a:off x="4531351" y="2540503"/>
              <a:ext cx="365768" cy="169998"/>
            </a:xfrm>
            <a:prstGeom prst="rightArrow">
              <a:avLst/>
            </a:prstGeom>
            <a:solidFill>
              <a:schemeClr val="accent3">
                <a:lumMod val="20000"/>
                <a:lumOff val="80000"/>
              </a:schemeClr>
            </a:solidFill>
            <a:ln>
              <a:solidFill>
                <a:schemeClr val="accent3">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7" name="TextBox 6">
              <a:extLst>
                <a:ext uri="{FF2B5EF4-FFF2-40B4-BE49-F238E27FC236}">
                  <a16:creationId xmlns:a16="http://schemas.microsoft.com/office/drawing/2014/main" id="{D6CD170B-0366-ED9D-1232-E361B76B96AB}"/>
                </a:ext>
              </a:extLst>
            </p:cNvPr>
            <p:cNvSpPr txBox="1"/>
            <p:nvPr/>
          </p:nvSpPr>
          <p:spPr>
            <a:xfrm>
              <a:off x="4886959" y="2081197"/>
              <a:ext cx="6903715" cy="923330"/>
            </a:xfrm>
            <a:prstGeom prst="rect">
              <a:avLst/>
            </a:prstGeom>
            <a:noFill/>
          </p:spPr>
          <p:txBody>
            <a:bodyPr wrap="square" rtlCol="0">
              <a:spAutoFit/>
            </a:bodyPr>
            <a:lstStyle/>
            <a:p>
              <a:pPr algn="just"/>
              <a:r>
                <a:rPr lang="en-US" dirty="0">
                  <a:solidFill>
                    <a:srgbClr val="121C2D"/>
                  </a:solidFill>
                  <a:latin typeface="Whitney SSm A"/>
                </a:rPr>
                <a:t>analyzes a sentence's grammatical structure to determine its syntactic components and relationships. In this phase, sentences are tagged into parts of speech</a:t>
              </a:r>
              <a:r>
                <a:rPr lang="en-IN" dirty="0">
                  <a:solidFill>
                    <a:srgbClr val="121C2D"/>
                  </a:solidFill>
                  <a:latin typeface="Whitney SSm A"/>
                </a:rPr>
                <a:t> </a:t>
              </a:r>
            </a:p>
          </p:txBody>
        </p:sp>
        <p:sp>
          <p:nvSpPr>
            <p:cNvPr id="10" name="Arrow: Right 9">
              <a:extLst>
                <a:ext uri="{FF2B5EF4-FFF2-40B4-BE49-F238E27FC236}">
                  <a16:creationId xmlns:a16="http://schemas.microsoft.com/office/drawing/2014/main" id="{D7A3ADCA-0926-AFCF-6734-D405D5156FE5}"/>
                </a:ext>
              </a:extLst>
            </p:cNvPr>
            <p:cNvSpPr/>
            <p:nvPr/>
          </p:nvSpPr>
          <p:spPr>
            <a:xfrm>
              <a:off x="4521191" y="3770507"/>
              <a:ext cx="365768" cy="169998"/>
            </a:xfrm>
            <a:prstGeom prst="rightArrow">
              <a:avLst/>
            </a:prstGeom>
            <a:solidFill>
              <a:schemeClr val="accent3">
                <a:lumMod val="20000"/>
                <a:lumOff val="80000"/>
              </a:schemeClr>
            </a:solidFill>
            <a:ln>
              <a:solidFill>
                <a:schemeClr val="accent3">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13" name="TextBox 12">
              <a:extLst>
                <a:ext uri="{FF2B5EF4-FFF2-40B4-BE49-F238E27FC236}">
                  <a16:creationId xmlns:a16="http://schemas.microsoft.com/office/drawing/2014/main" id="{F6A445DF-C761-C75C-114C-8DD47330401C}"/>
                </a:ext>
              </a:extLst>
            </p:cNvPr>
            <p:cNvSpPr txBox="1"/>
            <p:nvPr/>
          </p:nvSpPr>
          <p:spPr>
            <a:xfrm>
              <a:off x="4810759" y="3461342"/>
              <a:ext cx="7228840" cy="923330"/>
            </a:xfrm>
            <a:prstGeom prst="rect">
              <a:avLst/>
            </a:prstGeom>
            <a:noFill/>
          </p:spPr>
          <p:txBody>
            <a:bodyPr wrap="square" rtlCol="0">
              <a:spAutoFit/>
            </a:bodyPr>
            <a:lstStyle/>
            <a:p>
              <a:pPr algn="just"/>
              <a:r>
                <a:rPr lang="en-US" b="0" i="0" dirty="0">
                  <a:solidFill>
                    <a:srgbClr val="121C2D"/>
                  </a:solidFill>
                  <a:effectLst/>
                  <a:latin typeface="Whitney SSm A"/>
                </a:rPr>
                <a:t>Semantics describe the meaning of words, phrases, sentences, and paragraphs. Semantic analysis attempts to understand the literal meaning of individual language selections, not syntactic correctness.</a:t>
              </a:r>
              <a:endParaRPr lang="en-IN" dirty="0">
                <a:solidFill>
                  <a:srgbClr val="121C2D"/>
                </a:solidFill>
                <a:latin typeface="Whitney SSm A"/>
              </a:endParaRPr>
            </a:p>
          </p:txBody>
        </p:sp>
        <p:sp>
          <p:nvSpPr>
            <p:cNvPr id="16" name="Arrow: Right 15">
              <a:extLst>
                <a:ext uri="{FF2B5EF4-FFF2-40B4-BE49-F238E27FC236}">
                  <a16:creationId xmlns:a16="http://schemas.microsoft.com/office/drawing/2014/main" id="{09114C31-0C11-019C-5DD7-1FDB8E808354}"/>
                </a:ext>
              </a:extLst>
            </p:cNvPr>
            <p:cNvSpPr/>
            <p:nvPr/>
          </p:nvSpPr>
          <p:spPr>
            <a:xfrm>
              <a:off x="4531351" y="4862107"/>
              <a:ext cx="365768" cy="169998"/>
            </a:xfrm>
            <a:prstGeom prst="rightArrow">
              <a:avLst/>
            </a:prstGeom>
            <a:solidFill>
              <a:schemeClr val="accent3">
                <a:lumMod val="20000"/>
                <a:lumOff val="80000"/>
              </a:schemeClr>
            </a:solidFill>
            <a:ln>
              <a:solidFill>
                <a:schemeClr val="accent3">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24" name="TextBox 23">
              <a:extLst>
                <a:ext uri="{FF2B5EF4-FFF2-40B4-BE49-F238E27FC236}">
                  <a16:creationId xmlns:a16="http://schemas.microsoft.com/office/drawing/2014/main" id="{49826161-0D6F-20B6-2902-E187CE79CFD9}"/>
                </a:ext>
              </a:extLst>
            </p:cNvPr>
            <p:cNvSpPr txBox="1"/>
            <p:nvPr/>
          </p:nvSpPr>
          <p:spPr>
            <a:xfrm>
              <a:off x="4881864" y="4560790"/>
              <a:ext cx="6918968" cy="923330"/>
            </a:xfrm>
            <a:prstGeom prst="rect">
              <a:avLst/>
            </a:prstGeom>
            <a:noFill/>
          </p:spPr>
          <p:txBody>
            <a:bodyPr wrap="square">
              <a:spAutoFit/>
            </a:bodyPr>
            <a:lstStyle/>
            <a:p>
              <a:r>
                <a:rPr lang="en-US" b="0" i="0" dirty="0">
                  <a:solidFill>
                    <a:srgbClr val="121C2D"/>
                  </a:solidFill>
                  <a:effectLst/>
                  <a:latin typeface="Whitney SSm A"/>
                </a:rPr>
                <a:t>Discourse integration analyzes prior words and sentences to understand the meaning of ambiguous language. Discourse integration takes into account the context of the text.</a:t>
              </a:r>
              <a:endParaRPr lang="en-IN" dirty="0"/>
            </a:p>
          </p:txBody>
        </p:sp>
        <p:sp>
          <p:nvSpPr>
            <p:cNvPr id="29" name="Arrow: Right 28">
              <a:extLst>
                <a:ext uri="{FF2B5EF4-FFF2-40B4-BE49-F238E27FC236}">
                  <a16:creationId xmlns:a16="http://schemas.microsoft.com/office/drawing/2014/main" id="{0CC0A1F2-1D6D-7557-2BB9-8CAC5702F195}"/>
                </a:ext>
              </a:extLst>
            </p:cNvPr>
            <p:cNvSpPr/>
            <p:nvPr/>
          </p:nvSpPr>
          <p:spPr>
            <a:xfrm>
              <a:off x="4531351" y="5824072"/>
              <a:ext cx="365768" cy="169998"/>
            </a:xfrm>
            <a:prstGeom prst="rightArrow">
              <a:avLst/>
            </a:prstGeom>
            <a:solidFill>
              <a:schemeClr val="accent3">
                <a:lumMod val="20000"/>
                <a:lumOff val="80000"/>
              </a:schemeClr>
            </a:solidFill>
            <a:ln>
              <a:solidFill>
                <a:schemeClr val="accent3">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30" name="TextBox 29">
              <a:extLst>
                <a:ext uri="{FF2B5EF4-FFF2-40B4-BE49-F238E27FC236}">
                  <a16:creationId xmlns:a16="http://schemas.microsoft.com/office/drawing/2014/main" id="{13E54854-F25A-F9B2-0B0E-05A921F338ED}"/>
                </a:ext>
              </a:extLst>
            </p:cNvPr>
            <p:cNvSpPr txBox="1"/>
            <p:nvPr/>
          </p:nvSpPr>
          <p:spPr>
            <a:xfrm>
              <a:off x="4933281" y="5567060"/>
              <a:ext cx="7228837" cy="923330"/>
            </a:xfrm>
            <a:prstGeom prst="rect">
              <a:avLst/>
            </a:prstGeom>
            <a:noFill/>
          </p:spPr>
          <p:txBody>
            <a:bodyPr wrap="square">
              <a:spAutoFit/>
            </a:bodyPr>
            <a:lstStyle/>
            <a:p>
              <a:r>
                <a:rPr lang="en-US" dirty="0"/>
                <a:t>describes the interpretation of language’s intended meaning. Pragmatic analysis attempts to derive the intended—not literal—meaning of language.</a:t>
              </a:r>
              <a:endParaRPr lang="en-IN" dirty="0"/>
            </a:p>
          </p:txBody>
        </p:sp>
      </p:grpSp>
    </p:spTree>
    <p:extLst>
      <p:ext uri="{BB962C8B-B14F-4D97-AF65-F5344CB8AC3E}">
        <p14:creationId xmlns:p14="http://schemas.microsoft.com/office/powerpoint/2010/main" val="1230057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B950E465-D5D8-71DA-48E9-C78142C0CF32}"/>
              </a:ext>
            </a:extLst>
          </p:cNvPr>
          <p:cNvSpPr>
            <a:spLocks noGrp="1"/>
          </p:cNvSpPr>
          <p:nvPr>
            <p:ph type="title"/>
          </p:nvPr>
        </p:nvSpPr>
        <p:spPr>
          <a:xfrm>
            <a:off x="492370" y="516835"/>
            <a:ext cx="3084844" cy="5772840"/>
          </a:xfrm>
        </p:spPr>
        <p:txBody>
          <a:bodyPr anchor="ctr">
            <a:normAutofit/>
          </a:bodyPr>
          <a:lstStyle/>
          <a:p>
            <a:r>
              <a:rPr lang="en-US" sz="3600">
                <a:solidFill>
                  <a:schemeClr val="bg1"/>
                </a:solidFill>
              </a:rPr>
              <a:t>Key Challenges</a:t>
            </a:r>
            <a:endParaRPr lang="en-IN" sz="3600">
              <a:solidFill>
                <a:schemeClr val="bg1"/>
              </a:solidFill>
            </a:endParaRPr>
          </a:p>
        </p:txBody>
      </p:sp>
      <p:graphicFrame>
        <p:nvGraphicFramePr>
          <p:cNvPr id="14" name="Content Placeholder 2">
            <a:extLst>
              <a:ext uri="{FF2B5EF4-FFF2-40B4-BE49-F238E27FC236}">
                <a16:creationId xmlns:a16="http://schemas.microsoft.com/office/drawing/2014/main" id="{ADB1CAE1-2E7F-FCCC-3AAF-DD45FEDFB1C0}"/>
              </a:ext>
            </a:extLst>
          </p:cNvPr>
          <p:cNvGraphicFramePr>
            <a:graphicFrameLocks noGrp="1"/>
          </p:cNvGraphicFramePr>
          <p:nvPr>
            <p:ph idx="1"/>
            <p:extLst>
              <p:ext uri="{D42A27DB-BD31-4B8C-83A1-F6EECF244321}">
                <p14:modId xmlns:p14="http://schemas.microsoft.com/office/powerpoint/2010/main" val="3574005950"/>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9724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88F0A37D-2337-4AAF-98B0-7E4E9B9871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4D2E9B-4B82-CBF8-22CE-D78632EAD297}"/>
              </a:ext>
            </a:extLst>
          </p:cNvPr>
          <p:cNvSpPr>
            <a:spLocks noGrp="1"/>
          </p:cNvSpPr>
          <p:nvPr>
            <p:ph type="title"/>
          </p:nvPr>
        </p:nvSpPr>
        <p:spPr>
          <a:xfrm>
            <a:off x="1097280" y="286603"/>
            <a:ext cx="10058400" cy="1450757"/>
          </a:xfrm>
        </p:spPr>
        <p:txBody>
          <a:bodyPr>
            <a:normAutofit/>
          </a:bodyPr>
          <a:lstStyle/>
          <a:p>
            <a:r>
              <a:rPr lang="en-US"/>
              <a:t>Ambiguity At Various NLP Stages</a:t>
            </a:r>
            <a:endParaRPr lang="en-IN" dirty="0"/>
          </a:p>
        </p:txBody>
      </p:sp>
      <p:cxnSp>
        <p:nvCxnSpPr>
          <p:cNvPr id="19" name="Straight Connector 18">
            <a:extLst>
              <a:ext uri="{FF2B5EF4-FFF2-40B4-BE49-F238E27FC236}">
                <a16:creationId xmlns:a16="http://schemas.microsoft.com/office/drawing/2014/main" id="{F15CCCF0-E573-463A-9760-1FDC0B2CFBD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7234D70-FB65-4E99-985E-64D219674D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12192000"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aphicFrame>
        <p:nvGraphicFramePr>
          <p:cNvPr id="7" name="Content Placeholder 6">
            <a:extLst>
              <a:ext uri="{FF2B5EF4-FFF2-40B4-BE49-F238E27FC236}">
                <a16:creationId xmlns:a16="http://schemas.microsoft.com/office/drawing/2014/main" id="{B4F7BA69-10A3-B1CF-647B-5AA938376CF3}"/>
              </a:ext>
            </a:extLst>
          </p:cNvPr>
          <p:cNvGraphicFramePr>
            <a:graphicFrameLocks/>
          </p:cNvGraphicFramePr>
          <p:nvPr>
            <p:extLst>
              <p:ext uri="{D42A27DB-BD31-4B8C-83A1-F6EECF244321}">
                <p14:modId xmlns:p14="http://schemas.microsoft.com/office/powerpoint/2010/main" val="326271610"/>
              </p:ext>
            </p:extLst>
          </p:nvPr>
        </p:nvGraphicFramePr>
        <p:xfrm>
          <a:off x="-425176" y="2234646"/>
          <a:ext cx="4546093" cy="3217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C0E5A299-95CC-289E-F8AB-6398A5253FC3}"/>
              </a:ext>
            </a:extLst>
          </p:cNvPr>
          <p:cNvGraphicFramePr/>
          <p:nvPr>
            <p:extLst>
              <p:ext uri="{D42A27DB-BD31-4B8C-83A1-F6EECF244321}">
                <p14:modId xmlns:p14="http://schemas.microsoft.com/office/powerpoint/2010/main" val="1742666304"/>
              </p:ext>
            </p:extLst>
          </p:nvPr>
        </p:nvGraphicFramePr>
        <p:xfrm>
          <a:off x="4788979" y="2182512"/>
          <a:ext cx="7235290" cy="43529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88959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BD3148-ED10-2481-98F9-A74A32186056}"/>
              </a:ext>
            </a:extLst>
          </p:cNvPr>
          <p:cNvSpPr>
            <a:spLocks noGrp="1"/>
          </p:cNvSpPr>
          <p:nvPr>
            <p:ph type="title"/>
          </p:nvPr>
        </p:nvSpPr>
        <p:spPr>
          <a:xfrm>
            <a:off x="1371599" y="294538"/>
            <a:ext cx="9895951" cy="1033669"/>
          </a:xfrm>
        </p:spPr>
        <p:txBody>
          <a:bodyPr>
            <a:normAutofit fontScale="90000"/>
          </a:bodyPr>
          <a:lstStyle/>
          <a:p>
            <a:pPr algn="ctr"/>
            <a:r>
              <a:rPr lang="en-US" sz="7200" dirty="0"/>
              <a:t>NLP Subfields</a:t>
            </a:r>
            <a:endParaRPr lang="en-IN" sz="4000" dirty="0">
              <a:solidFill>
                <a:srgbClr val="FFFFFF"/>
              </a:solidFill>
            </a:endParaRPr>
          </a:p>
        </p:txBody>
      </p:sp>
      <p:graphicFrame>
        <p:nvGraphicFramePr>
          <p:cNvPr id="4" name="Content Placeholder 3">
            <a:extLst>
              <a:ext uri="{FF2B5EF4-FFF2-40B4-BE49-F238E27FC236}">
                <a16:creationId xmlns:a16="http://schemas.microsoft.com/office/drawing/2014/main" id="{70A080D3-610D-ED89-C737-C86C546578B6}"/>
              </a:ext>
            </a:extLst>
          </p:cNvPr>
          <p:cNvGraphicFramePr>
            <a:graphicFrameLocks/>
          </p:cNvGraphicFramePr>
          <p:nvPr>
            <p:extLst>
              <p:ext uri="{D42A27DB-BD31-4B8C-83A1-F6EECF244321}">
                <p14:modId xmlns:p14="http://schemas.microsoft.com/office/powerpoint/2010/main" val="3222776114"/>
              </p:ext>
            </p:extLst>
          </p:nvPr>
        </p:nvGraphicFramePr>
        <p:xfrm>
          <a:off x="609598" y="1704975"/>
          <a:ext cx="10448927" cy="5153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97077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6BAC2ED-FF34-1EE1-7D3F-32B8A10A4C5C}"/>
              </a:ext>
            </a:extLst>
          </p:cNvPr>
          <p:cNvSpPr>
            <a:spLocks noGrp="1"/>
          </p:cNvSpPr>
          <p:nvPr>
            <p:ph type="title"/>
          </p:nvPr>
        </p:nvSpPr>
        <p:spPr>
          <a:xfrm>
            <a:off x="660041" y="2767106"/>
            <a:ext cx="2880828" cy="3071906"/>
          </a:xfrm>
        </p:spPr>
        <p:txBody>
          <a:bodyPr vert="horz" lIns="91440" tIns="45720" rIns="91440" bIns="45720" rtlCol="0" anchor="t">
            <a:normAutofit/>
          </a:bodyPr>
          <a:lstStyle/>
          <a:p>
            <a:pPr algn="l" rtl="0">
              <a:lnSpc>
                <a:spcPct val="90000"/>
              </a:lnSpc>
              <a:spcBef>
                <a:spcPct val="0"/>
              </a:spcBef>
            </a:pPr>
            <a:r>
              <a:rPr lang="en-US" sz="4000" kern="1200">
                <a:solidFill>
                  <a:srgbClr val="FFFFFF"/>
                </a:solidFill>
                <a:latin typeface="+mj-lt"/>
                <a:ea typeface="+mj-ea"/>
                <a:cs typeface="+mj-cs"/>
              </a:rPr>
              <a:t>Components of NLG</a:t>
            </a:r>
          </a:p>
        </p:txBody>
      </p:sp>
      <p:pic>
        <p:nvPicPr>
          <p:cNvPr id="6" name="Picture 5">
            <a:extLst>
              <a:ext uri="{FF2B5EF4-FFF2-40B4-BE49-F238E27FC236}">
                <a16:creationId xmlns:a16="http://schemas.microsoft.com/office/drawing/2014/main" id="{381EA157-978C-6500-70EA-E13CF53573B2}"/>
              </a:ext>
            </a:extLst>
          </p:cNvPr>
          <p:cNvPicPr>
            <a:picLocks noChangeAspect="1"/>
          </p:cNvPicPr>
          <p:nvPr/>
        </p:nvPicPr>
        <p:blipFill>
          <a:blip r:embed="rId3"/>
          <a:stretch>
            <a:fillRect/>
          </a:stretch>
        </p:blipFill>
        <p:spPr>
          <a:xfrm>
            <a:off x="4974086" y="467208"/>
            <a:ext cx="6557873" cy="6457530"/>
          </a:xfrm>
          <a:prstGeom prst="rect">
            <a:avLst/>
          </a:prstGeom>
        </p:spPr>
      </p:pic>
    </p:spTree>
    <p:extLst>
      <p:ext uri="{BB962C8B-B14F-4D97-AF65-F5344CB8AC3E}">
        <p14:creationId xmlns:p14="http://schemas.microsoft.com/office/powerpoint/2010/main" val="282009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4C13833-31B6-D95E-F80F-C4B6BCA62BF6}"/>
              </a:ext>
            </a:extLst>
          </p:cNvPr>
          <p:cNvSpPr>
            <a:spLocks noGrp="1"/>
          </p:cNvSpPr>
          <p:nvPr>
            <p:ph type="title"/>
          </p:nvPr>
        </p:nvSpPr>
        <p:spPr>
          <a:xfrm>
            <a:off x="1383564" y="348865"/>
            <a:ext cx="9718111" cy="1576446"/>
          </a:xfrm>
        </p:spPr>
        <p:txBody>
          <a:bodyPr anchor="ctr">
            <a:normAutofit/>
          </a:bodyPr>
          <a:lstStyle/>
          <a:p>
            <a:pPr algn="ctr"/>
            <a:r>
              <a:rPr lang="en-US" sz="4000" dirty="0">
                <a:solidFill>
                  <a:srgbClr val="FFFFFF"/>
                </a:solidFill>
              </a:rPr>
              <a:t> Types of NLG Systems</a:t>
            </a:r>
            <a:endParaRPr lang="en-IN" sz="4000" dirty="0">
              <a:solidFill>
                <a:srgbClr val="FFFFFF"/>
              </a:solidFill>
            </a:endParaRPr>
          </a:p>
        </p:txBody>
      </p:sp>
      <p:graphicFrame>
        <p:nvGraphicFramePr>
          <p:cNvPr id="4" name="Diagram 3">
            <a:extLst>
              <a:ext uri="{FF2B5EF4-FFF2-40B4-BE49-F238E27FC236}">
                <a16:creationId xmlns:a16="http://schemas.microsoft.com/office/drawing/2014/main" id="{4B0A7BDD-45ED-2269-7365-663934C5E554}"/>
              </a:ext>
            </a:extLst>
          </p:cNvPr>
          <p:cNvGraphicFramePr/>
          <p:nvPr>
            <p:extLst>
              <p:ext uri="{D42A27DB-BD31-4B8C-83A1-F6EECF244321}">
                <p14:modId xmlns:p14="http://schemas.microsoft.com/office/powerpoint/2010/main" val="2899225999"/>
              </p:ext>
            </p:extLst>
          </p:nvPr>
        </p:nvGraphicFramePr>
        <p:xfrm>
          <a:off x="11970" y="1925311"/>
          <a:ext cx="12180030" cy="4791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7145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76325-9653-7DB3-FBCF-26ADBD493B7B}"/>
              </a:ext>
            </a:extLst>
          </p:cNvPr>
          <p:cNvSpPr>
            <a:spLocks noGrp="1"/>
          </p:cNvSpPr>
          <p:nvPr>
            <p:ph type="title"/>
          </p:nvPr>
        </p:nvSpPr>
        <p:spPr>
          <a:xfrm>
            <a:off x="1097280" y="286603"/>
            <a:ext cx="10058400" cy="1065947"/>
          </a:xfrm>
        </p:spPr>
        <p:txBody>
          <a:bodyPr/>
          <a:lstStyle/>
          <a:p>
            <a:pPr algn="ctr"/>
            <a:r>
              <a:rPr lang="en-US" dirty="0"/>
              <a:t>Language Modeling</a:t>
            </a:r>
            <a:endParaRPr lang="en-IN" dirty="0"/>
          </a:p>
        </p:txBody>
      </p:sp>
      <p:sp>
        <p:nvSpPr>
          <p:cNvPr id="3" name="Content Placeholder 2">
            <a:extLst>
              <a:ext uri="{FF2B5EF4-FFF2-40B4-BE49-F238E27FC236}">
                <a16:creationId xmlns:a16="http://schemas.microsoft.com/office/drawing/2014/main" id="{CAB68FFE-9434-3147-D5B4-7656DF4A5682}"/>
              </a:ext>
            </a:extLst>
          </p:cNvPr>
          <p:cNvSpPr>
            <a:spLocks noGrp="1"/>
          </p:cNvSpPr>
          <p:nvPr>
            <p:ph idx="1"/>
          </p:nvPr>
        </p:nvSpPr>
        <p:spPr/>
        <p:txBody>
          <a:bodyPr/>
          <a:lstStyle/>
          <a:p>
            <a:r>
              <a:rPr lang="en-US" dirty="0"/>
              <a:t>Language Models are  trained with Statistical / Machine Learning / Deep Learning  techniques to predict the next word or sequence of next words.</a:t>
            </a:r>
          </a:p>
          <a:p>
            <a:r>
              <a:rPr lang="en-US" dirty="0"/>
              <a:t>Examples: N gram model, Hidden Markov Models , RNN , LSTM , GRU and Transformer Models</a:t>
            </a:r>
          </a:p>
          <a:p>
            <a:r>
              <a:rPr lang="en-US" dirty="0"/>
              <a:t>A pre-trained language model has been trained on a large corpus of data.</a:t>
            </a:r>
          </a:p>
          <a:p>
            <a:r>
              <a:rPr lang="en-US" b="0" i="0" dirty="0">
                <a:solidFill>
                  <a:srgbClr val="242424"/>
                </a:solidFill>
                <a:effectLst/>
                <a:highlight>
                  <a:srgbClr val="FFFFFF"/>
                </a:highlight>
                <a:latin typeface="source-serif-pro"/>
              </a:rPr>
              <a:t>Pre training captures the underlying patterns, structures, and semantic knowledge present in the text corpus.</a:t>
            </a:r>
          </a:p>
          <a:p>
            <a:r>
              <a:rPr lang="en-US" dirty="0">
                <a:solidFill>
                  <a:srgbClr val="242424"/>
                </a:solidFill>
                <a:highlight>
                  <a:srgbClr val="FFFFFF"/>
                </a:highlight>
                <a:latin typeface="source-serif-pro"/>
              </a:rPr>
              <a:t>Pre training is an unsupervised technology , training is happening without the target labels. </a:t>
            </a:r>
            <a:endParaRPr lang="en-US" b="0" i="0" dirty="0">
              <a:solidFill>
                <a:srgbClr val="242424"/>
              </a:solidFill>
              <a:effectLst/>
              <a:highlight>
                <a:srgbClr val="FFFFFF"/>
              </a:highlight>
              <a:latin typeface="source-serif-pro"/>
            </a:endParaRPr>
          </a:p>
          <a:p>
            <a:r>
              <a:rPr lang="en-US" dirty="0">
                <a:solidFill>
                  <a:srgbClr val="242424"/>
                </a:solidFill>
                <a:highlight>
                  <a:srgbClr val="FFFFFF"/>
                </a:highlight>
                <a:latin typeface="source-serif-pro"/>
              </a:rPr>
              <a:t>In fine tunning , A pre trained model is tuned to excel in a certain task</a:t>
            </a:r>
            <a:endParaRPr lang="en-US" dirty="0"/>
          </a:p>
          <a:p>
            <a:endParaRPr lang="en-US" dirty="0"/>
          </a:p>
          <a:p>
            <a:endParaRPr lang="en-IN" dirty="0"/>
          </a:p>
        </p:txBody>
      </p:sp>
    </p:spTree>
    <p:extLst>
      <p:ext uri="{BB962C8B-B14F-4D97-AF65-F5344CB8AC3E}">
        <p14:creationId xmlns:p14="http://schemas.microsoft.com/office/powerpoint/2010/main" val="892658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3558DB37-9FEE-48A2-8578-ED04015739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F7FCCA6-00E2-4F74-A105-0D769872F2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0"/>
            <a:ext cx="12188952" cy="1905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6CBBD585-892A-3256-2437-74FB5B635899}"/>
              </a:ext>
            </a:extLst>
          </p:cNvPr>
          <p:cNvSpPr>
            <a:spLocks noGrp="1"/>
          </p:cNvSpPr>
          <p:nvPr>
            <p:ph type="title"/>
          </p:nvPr>
        </p:nvSpPr>
        <p:spPr>
          <a:xfrm>
            <a:off x="1097280" y="286603"/>
            <a:ext cx="10058400" cy="1450757"/>
          </a:xfrm>
        </p:spPr>
        <p:txBody>
          <a:bodyPr anchor="ctr">
            <a:normAutofit/>
          </a:bodyPr>
          <a:lstStyle/>
          <a:p>
            <a:r>
              <a:rPr lang="en-US" dirty="0">
                <a:solidFill>
                  <a:srgbClr val="FFFFFF"/>
                </a:solidFill>
              </a:rPr>
              <a:t>Probabilistic Language models</a:t>
            </a:r>
            <a:endParaRPr lang="en-IN" dirty="0">
              <a:solidFill>
                <a:srgbClr val="FFFFFF"/>
              </a:solidFill>
            </a:endParaRPr>
          </a:p>
        </p:txBody>
      </p:sp>
      <p:sp>
        <p:nvSpPr>
          <p:cNvPr id="3" name="Content Placeholder 2">
            <a:extLst>
              <a:ext uri="{FF2B5EF4-FFF2-40B4-BE49-F238E27FC236}">
                <a16:creationId xmlns:a16="http://schemas.microsoft.com/office/drawing/2014/main" id="{1C69F6B9-DD5F-13E5-AEB2-8EC0273651B9}"/>
              </a:ext>
            </a:extLst>
          </p:cNvPr>
          <p:cNvSpPr>
            <a:spLocks noGrp="1"/>
          </p:cNvSpPr>
          <p:nvPr>
            <p:ph idx="1"/>
          </p:nvPr>
        </p:nvSpPr>
        <p:spPr>
          <a:xfrm>
            <a:off x="204538" y="1905000"/>
            <a:ext cx="11987462" cy="4495799"/>
          </a:xfrm>
        </p:spPr>
        <p:txBody>
          <a:bodyPr>
            <a:noAutofit/>
          </a:bodyPr>
          <a:lstStyle/>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Assigns probabilities to sequences of words in natural language.</a:t>
            </a:r>
          </a:p>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 For example,  n-gram predicts the likelihood of a word (or sequence of words) occurring in a text given the previous n-1 words.</a:t>
            </a:r>
          </a:p>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The "n" in n-gram represents the number of words considered as context.  </a:t>
            </a:r>
          </a:p>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A unigram model (n=1) predicts the probability of a word based solely on its own occurrence frequency in the text.</a:t>
            </a:r>
          </a:p>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A bigram model (n=2) predicts the probability of a word based on the occurrence frequency of the previous word.</a:t>
            </a:r>
          </a:p>
          <a:p>
            <a:pPr>
              <a:lnSpc>
                <a:spcPct val="100000"/>
              </a:lnSpc>
              <a:spcBef>
                <a:spcPts val="600"/>
              </a:spcBef>
              <a:spcAft>
                <a:spcPts val="0"/>
              </a:spcAft>
              <a:buClr>
                <a:schemeClr val="accent2">
                  <a:lumMod val="75000"/>
                </a:schemeClr>
              </a:buClr>
              <a:buFont typeface="Wingdings" panose="05000000000000000000" pitchFamily="2" charset="2"/>
              <a:buChar char="§"/>
            </a:pPr>
            <a:r>
              <a:rPr lang="en-US" sz="1800" dirty="0"/>
              <a:t>A trigram model (n=3) predicts the probability of a word based on the occurrence frequency of the previous two words, and so on.</a:t>
            </a:r>
          </a:p>
          <a:p>
            <a:pPr marL="0" indent="0">
              <a:lnSpc>
                <a:spcPct val="100000"/>
              </a:lnSpc>
              <a:spcBef>
                <a:spcPts val="0"/>
              </a:spcBef>
              <a:spcAft>
                <a:spcPts val="0"/>
              </a:spcAft>
              <a:buNone/>
            </a:pPr>
            <a:endParaRPr lang="en-US" sz="1800" b="1" i="0" dirty="0">
              <a:effectLst/>
              <a:highlight>
                <a:srgbClr val="FFFFFF"/>
              </a:highlight>
              <a:latin typeface="ui-sans-serif"/>
            </a:endParaRPr>
          </a:p>
          <a:p>
            <a:pPr marL="0" indent="0" algn="ctr">
              <a:lnSpc>
                <a:spcPct val="100000"/>
              </a:lnSpc>
              <a:spcBef>
                <a:spcPts val="0"/>
              </a:spcBef>
              <a:spcAft>
                <a:spcPts val="0"/>
              </a:spcAft>
              <a:buNone/>
            </a:pPr>
            <a:r>
              <a:rPr lang="en-US" sz="1800" b="1" i="0" dirty="0">
                <a:effectLst/>
                <a:highlight>
                  <a:srgbClr val="FFFFFF"/>
                </a:highlight>
                <a:latin typeface="ui-sans-serif"/>
              </a:rPr>
              <a:t>"the quick brown fox jumps over the lazy dog</a:t>
            </a:r>
            <a:endParaRPr lang="en-US" sz="1800" b="1" dirty="0"/>
          </a:p>
          <a:p>
            <a:pPr marL="0" indent="0">
              <a:lnSpc>
                <a:spcPct val="100000"/>
              </a:lnSpc>
              <a:spcBef>
                <a:spcPts val="0"/>
              </a:spcBef>
              <a:spcAft>
                <a:spcPts val="0"/>
              </a:spcAft>
              <a:buNone/>
            </a:pPr>
            <a:endParaRPr lang="en-US" sz="1800" dirty="0"/>
          </a:p>
          <a:p>
            <a:pPr marL="0" indent="0">
              <a:lnSpc>
                <a:spcPct val="100000"/>
              </a:lnSpc>
              <a:spcBef>
                <a:spcPts val="0"/>
              </a:spcBef>
              <a:spcAft>
                <a:spcPts val="0"/>
              </a:spcAft>
              <a:buNone/>
            </a:pPr>
            <a:r>
              <a:rPr lang="en-US" sz="1800" dirty="0"/>
              <a:t>Bigrams: </a:t>
            </a:r>
            <a:r>
              <a:rPr lang="en-IN" sz="1800" b="0" i="0" dirty="0">
                <a:effectLst/>
                <a:highlight>
                  <a:srgbClr val="FFFFFF"/>
                </a:highlight>
                <a:latin typeface="ui-sans-serif"/>
              </a:rPr>
              <a:t>("the", "quick")</a:t>
            </a:r>
            <a:r>
              <a:rPr lang="en-US" sz="1800" b="0" i="0" dirty="0">
                <a:effectLst/>
                <a:highlight>
                  <a:srgbClr val="FFFFFF"/>
                </a:highlight>
                <a:latin typeface="ui-sans-serif"/>
              </a:rPr>
              <a:t>, </a:t>
            </a:r>
            <a:r>
              <a:rPr lang="en-IN" sz="1800" b="0" i="0" dirty="0">
                <a:effectLst/>
                <a:highlight>
                  <a:srgbClr val="FFFFFF"/>
                </a:highlight>
                <a:latin typeface="ui-sans-serif"/>
              </a:rPr>
              <a:t>("quick", "brown")</a:t>
            </a:r>
            <a:r>
              <a:rPr lang="en-US" sz="1800" b="0" i="0" dirty="0">
                <a:effectLst/>
                <a:highlight>
                  <a:srgbClr val="FFFFFF"/>
                </a:highlight>
                <a:latin typeface="ui-sans-serif"/>
              </a:rPr>
              <a:t>, </a:t>
            </a:r>
            <a:r>
              <a:rPr lang="en-IN" sz="1800" b="0" i="0" dirty="0">
                <a:effectLst/>
                <a:highlight>
                  <a:srgbClr val="FFFFFF"/>
                </a:highlight>
                <a:latin typeface="ui-sans-serif"/>
              </a:rPr>
              <a:t>("brown", "fox") etc </a:t>
            </a:r>
          </a:p>
          <a:p>
            <a:pPr marL="0" indent="0">
              <a:lnSpc>
                <a:spcPct val="100000"/>
              </a:lnSpc>
              <a:spcBef>
                <a:spcPts val="0"/>
              </a:spcBef>
              <a:spcAft>
                <a:spcPts val="0"/>
              </a:spcAft>
              <a:buNone/>
            </a:pPr>
            <a:r>
              <a:rPr lang="en-IN" sz="1800" dirty="0">
                <a:highlight>
                  <a:srgbClr val="FFFFFF"/>
                </a:highlight>
                <a:latin typeface="ui-sans-serif"/>
              </a:rPr>
              <a:t>Trigrams : </a:t>
            </a:r>
            <a:r>
              <a:rPr lang="en-IN" sz="1800" b="0" i="0" dirty="0">
                <a:effectLst/>
                <a:highlight>
                  <a:srgbClr val="FFFFFF"/>
                </a:highlight>
                <a:latin typeface="ui-sans-serif"/>
              </a:rPr>
              <a:t>("the", "quick", "brown")</a:t>
            </a:r>
            <a:r>
              <a:rPr lang="en-IN" sz="1800" dirty="0">
                <a:highlight>
                  <a:srgbClr val="FFFFFF"/>
                </a:highlight>
                <a:latin typeface="ui-sans-serif"/>
              </a:rPr>
              <a:t>, </a:t>
            </a:r>
            <a:r>
              <a:rPr lang="en-IN" sz="1800" b="0" i="0" dirty="0">
                <a:effectLst/>
                <a:highlight>
                  <a:srgbClr val="FFFFFF"/>
                </a:highlight>
                <a:latin typeface="ui-sans-serif"/>
              </a:rPr>
              <a:t>("quick", "brown", "fox") etc</a:t>
            </a:r>
            <a:endParaRPr lang="en-US" sz="1800" dirty="0"/>
          </a:p>
          <a:p>
            <a:pPr marL="0" indent="0">
              <a:lnSpc>
                <a:spcPct val="100000"/>
              </a:lnSpc>
              <a:spcBef>
                <a:spcPts val="0"/>
              </a:spcBef>
              <a:spcAft>
                <a:spcPts val="0"/>
              </a:spcAft>
              <a:buNone/>
            </a:pPr>
            <a:r>
              <a:rPr lang="en-US" sz="1800" dirty="0"/>
              <a:t>the probabilities of bigrams, where the probability of a word depends only on the preceding word.</a:t>
            </a:r>
            <a:endParaRPr lang="en-IN" sz="1800" dirty="0"/>
          </a:p>
        </p:txBody>
      </p:sp>
      <p:sp>
        <p:nvSpPr>
          <p:cNvPr id="31" name="Rectangle 30">
            <a:extLst>
              <a:ext uri="{FF2B5EF4-FFF2-40B4-BE49-F238E27FC236}">
                <a16:creationId xmlns:a16="http://schemas.microsoft.com/office/drawing/2014/main" id="{359CEC61-F44B-43B3-B40F-AE38C5AF1D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0800"/>
            <a:ext cx="12192000"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Tree>
    <p:extLst>
      <p:ext uri="{BB962C8B-B14F-4D97-AF65-F5344CB8AC3E}">
        <p14:creationId xmlns:p14="http://schemas.microsoft.com/office/powerpoint/2010/main" val="1324861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3862C-E4DA-ACC0-35A4-3DE94140B690}"/>
              </a:ext>
            </a:extLst>
          </p:cNvPr>
          <p:cNvSpPr>
            <a:spLocks noGrp="1"/>
          </p:cNvSpPr>
          <p:nvPr>
            <p:ph type="title"/>
          </p:nvPr>
        </p:nvSpPr>
        <p:spPr/>
        <p:txBody>
          <a:bodyPr/>
          <a:lstStyle/>
          <a:p>
            <a:pPr algn="ctr"/>
            <a:r>
              <a:rPr lang="en-US" dirty="0"/>
              <a:t> Calculation of Next word Probability</a:t>
            </a:r>
            <a:endParaRPr lang="en-IN" dirty="0"/>
          </a:p>
        </p:txBody>
      </p:sp>
      <p:grpSp>
        <p:nvGrpSpPr>
          <p:cNvPr id="14" name="Group 13">
            <a:extLst>
              <a:ext uri="{FF2B5EF4-FFF2-40B4-BE49-F238E27FC236}">
                <a16:creationId xmlns:a16="http://schemas.microsoft.com/office/drawing/2014/main" id="{79291EF7-C8F5-4CA2-AFD2-5718A5057B29}"/>
              </a:ext>
            </a:extLst>
          </p:cNvPr>
          <p:cNvGrpSpPr/>
          <p:nvPr/>
        </p:nvGrpSpPr>
        <p:grpSpPr>
          <a:xfrm>
            <a:off x="652112" y="2722361"/>
            <a:ext cx="10503568" cy="3849036"/>
            <a:chOff x="1010653" y="2178785"/>
            <a:chExt cx="10503568" cy="3849036"/>
          </a:xfrm>
        </p:grpSpPr>
        <p:sp>
          <p:nvSpPr>
            <p:cNvPr id="7" name="Rectangle: Rounded Corners 6">
              <a:extLst>
                <a:ext uri="{FF2B5EF4-FFF2-40B4-BE49-F238E27FC236}">
                  <a16:creationId xmlns:a16="http://schemas.microsoft.com/office/drawing/2014/main" id="{2007067A-A6FA-40D0-9171-17AA48DEB76C}"/>
                </a:ext>
              </a:extLst>
            </p:cNvPr>
            <p:cNvSpPr/>
            <p:nvPr/>
          </p:nvSpPr>
          <p:spPr>
            <a:xfrm>
              <a:off x="1010653" y="2311132"/>
              <a:ext cx="2514600" cy="358434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a:t>Step 1: Tokenization</a:t>
              </a:r>
            </a:p>
            <a:p>
              <a:pPr algn="ctr"/>
              <a:r>
                <a:rPr lang="en-US" b="1" dirty="0"/>
                <a:t>Tokens: ["the", "quick", "brown", "fox", "jumps", "over", "the", "lazy", "dog"]</a:t>
              </a:r>
              <a:endParaRPr lang="en-IN" b="1" dirty="0"/>
            </a:p>
          </p:txBody>
        </p:sp>
        <p:sp>
          <p:nvSpPr>
            <p:cNvPr id="9" name="Rectangle: Rounded Corners 8">
              <a:extLst>
                <a:ext uri="{FF2B5EF4-FFF2-40B4-BE49-F238E27FC236}">
                  <a16:creationId xmlns:a16="http://schemas.microsoft.com/office/drawing/2014/main" id="{B3F2E4C9-ACA6-93C2-590F-DEBFE9E920FB}"/>
                </a:ext>
              </a:extLst>
            </p:cNvPr>
            <p:cNvSpPr/>
            <p:nvPr/>
          </p:nvSpPr>
          <p:spPr>
            <a:xfrm>
              <a:off x="3525253" y="2311132"/>
              <a:ext cx="2514600" cy="358434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a:t>Step 2: Counting Bigrams</a:t>
              </a:r>
            </a:p>
            <a:p>
              <a:pPr algn="ctr"/>
              <a:r>
                <a:rPr lang="en-US" b="1" dirty="0"/>
                <a:t>("the", "quick"): 1</a:t>
              </a:r>
            </a:p>
            <a:p>
              <a:pPr algn="ctr"/>
              <a:r>
                <a:rPr lang="en-US" b="1" dirty="0"/>
                <a:t>("quick", "brown"): 1</a:t>
              </a:r>
            </a:p>
            <a:p>
              <a:pPr algn="ctr"/>
              <a:r>
                <a:rPr lang="en-US" b="1" dirty="0"/>
                <a:t>("brown", "fox"): 1</a:t>
              </a:r>
            </a:p>
            <a:p>
              <a:pPr algn="ctr"/>
              <a:r>
                <a:rPr lang="en-US" b="1" dirty="0"/>
                <a:t>("fox", "jumps"): 1</a:t>
              </a:r>
            </a:p>
            <a:p>
              <a:pPr algn="ctr"/>
              <a:r>
                <a:rPr lang="en-US" b="1" dirty="0"/>
                <a:t>("jumps", "over"): 1</a:t>
              </a:r>
            </a:p>
            <a:p>
              <a:pPr algn="ctr"/>
              <a:r>
                <a:rPr lang="en-US" b="1" dirty="0"/>
                <a:t>("over", "the"): 1</a:t>
              </a:r>
            </a:p>
            <a:p>
              <a:pPr algn="ctr"/>
              <a:r>
                <a:rPr lang="en-US" b="1" dirty="0"/>
                <a:t>("the", "lazy"): 1</a:t>
              </a:r>
            </a:p>
            <a:p>
              <a:pPr algn="ctr"/>
              <a:r>
                <a:rPr lang="en-US" b="1" dirty="0"/>
                <a:t>("lazy", "dog"): 1</a:t>
              </a:r>
              <a:endParaRPr lang="en-IN" b="1" dirty="0"/>
            </a:p>
          </p:txBody>
        </p:sp>
        <p:sp>
          <p:nvSpPr>
            <p:cNvPr id="8" name="Arrow: Right 7">
              <a:extLst>
                <a:ext uri="{FF2B5EF4-FFF2-40B4-BE49-F238E27FC236}">
                  <a16:creationId xmlns:a16="http://schemas.microsoft.com/office/drawing/2014/main" id="{D8803321-834D-6088-6E51-80E8FFEE551B}"/>
                </a:ext>
              </a:extLst>
            </p:cNvPr>
            <p:cNvSpPr/>
            <p:nvPr/>
          </p:nvSpPr>
          <p:spPr>
            <a:xfrm>
              <a:off x="3272590" y="5143499"/>
              <a:ext cx="505326" cy="445168"/>
            </a:xfrm>
            <a:prstGeom prst="right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a:p>
          </p:txBody>
        </p:sp>
        <p:sp>
          <p:nvSpPr>
            <p:cNvPr id="10" name="Rectangle: Rounded Corners 9">
              <a:extLst>
                <a:ext uri="{FF2B5EF4-FFF2-40B4-BE49-F238E27FC236}">
                  <a16:creationId xmlns:a16="http://schemas.microsoft.com/office/drawing/2014/main" id="{9E5B667B-FE01-E25E-6948-697730A343EC}"/>
                </a:ext>
              </a:extLst>
            </p:cNvPr>
            <p:cNvSpPr/>
            <p:nvPr/>
          </p:nvSpPr>
          <p:spPr>
            <a:xfrm>
              <a:off x="6039853" y="2311132"/>
              <a:ext cx="2514600" cy="358434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a:t>Step 3: Counting Unigrams</a:t>
              </a:r>
            </a:p>
            <a:p>
              <a:pPr algn="ctr"/>
              <a:r>
                <a:rPr lang="en-US" b="1" dirty="0"/>
                <a:t>"the": 2</a:t>
              </a:r>
            </a:p>
            <a:p>
              <a:pPr algn="ctr"/>
              <a:r>
                <a:rPr lang="en-US" b="1" dirty="0"/>
                <a:t>"quick": 1</a:t>
              </a:r>
            </a:p>
            <a:p>
              <a:pPr algn="ctr"/>
              <a:r>
                <a:rPr lang="en-US" b="1" dirty="0"/>
                <a:t>"brown": 1</a:t>
              </a:r>
            </a:p>
            <a:p>
              <a:pPr algn="ctr"/>
              <a:r>
                <a:rPr lang="en-US" b="1" dirty="0"/>
                <a:t>"fox": 1</a:t>
              </a:r>
            </a:p>
            <a:p>
              <a:pPr algn="ctr"/>
              <a:r>
                <a:rPr lang="en-US" b="1" dirty="0"/>
                <a:t>"jumps": 1</a:t>
              </a:r>
            </a:p>
            <a:p>
              <a:pPr algn="ctr"/>
              <a:r>
                <a:rPr lang="en-US" b="1" dirty="0"/>
                <a:t>"over": 1</a:t>
              </a:r>
            </a:p>
            <a:p>
              <a:pPr algn="ctr"/>
              <a:r>
                <a:rPr lang="en-US" b="1" dirty="0"/>
                <a:t>"lazy": 1</a:t>
              </a:r>
            </a:p>
            <a:p>
              <a:pPr algn="ctr"/>
              <a:r>
                <a:rPr lang="en-US" b="1" dirty="0"/>
                <a:t>"dog": 1</a:t>
              </a:r>
              <a:endParaRPr lang="en-IN" b="1" dirty="0"/>
            </a:p>
          </p:txBody>
        </p:sp>
        <p:sp>
          <p:nvSpPr>
            <p:cNvPr id="11" name="Arrow: Right 10">
              <a:extLst>
                <a:ext uri="{FF2B5EF4-FFF2-40B4-BE49-F238E27FC236}">
                  <a16:creationId xmlns:a16="http://schemas.microsoft.com/office/drawing/2014/main" id="{F910D7ED-F688-BCC2-CF22-E23ED466074C}"/>
                </a:ext>
              </a:extLst>
            </p:cNvPr>
            <p:cNvSpPr/>
            <p:nvPr/>
          </p:nvSpPr>
          <p:spPr>
            <a:xfrm>
              <a:off x="5787190" y="5143499"/>
              <a:ext cx="505326" cy="445168"/>
            </a:xfrm>
            <a:prstGeom prst="right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a:p>
          </p:txBody>
        </p:sp>
        <p:sp>
          <p:nvSpPr>
            <p:cNvPr id="12" name="Rectangle: Rounded Corners 11">
              <a:extLst>
                <a:ext uri="{FF2B5EF4-FFF2-40B4-BE49-F238E27FC236}">
                  <a16:creationId xmlns:a16="http://schemas.microsoft.com/office/drawing/2014/main" id="{280929D6-C3FD-3916-08D7-9DBFB5948302}"/>
                </a:ext>
              </a:extLst>
            </p:cNvPr>
            <p:cNvSpPr/>
            <p:nvPr/>
          </p:nvSpPr>
          <p:spPr>
            <a:xfrm>
              <a:off x="8470232" y="2178785"/>
              <a:ext cx="3043989" cy="3849036"/>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a:t>Step 4: Calculating Probabilities</a:t>
              </a:r>
            </a:p>
            <a:p>
              <a:pPr algn="ctr"/>
              <a:r>
                <a:rPr lang="en-US" b="1" dirty="0"/>
                <a:t>calculate the probability of each bigram by dividing its count by the count of its starting word (unigram)</a:t>
              </a:r>
            </a:p>
            <a:p>
              <a:pPr algn="ctr"/>
              <a:r>
                <a:rPr lang="en-US" b="1" dirty="0"/>
                <a:t>P("quick" | "the") = Count("the", "quick") / Count("the") = 1/2 = 0.5</a:t>
              </a:r>
            </a:p>
            <a:p>
              <a:pPr algn="ctr"/>
              <a:r>
                <a:rPr lang="en-US" b="1" dirty="0"/>
                <a:t>P("brown" | "quick") = Count("quick", "brown") / Count("quick") = 1/1 = 1.0</a:t>
              </a:r>
              <a:endParaRPr lang="en-IN" b="1" dirty="0"/>
            </a:p>
          </p:txBody>
        </p:sp>
        <p:sp>
          <p:nvSpPr>
            <p:cNvPr id="13" name="Arrow: Right 12">
              <a:extLst>
                <a:ext uri="{FF2B5EF4-FFF2-40B4-BE49-F238E27FC236}">
                  <a16:creationId xmlns:a16="http://schemas.microsoft.com/office/drawing/2014/main" id="{7C64AF26-D564-F802-A319-F1BB2BE6B8AF}"/>
                </a:ext>
              </a:extLst>
            </p:cNvPr>
            <p:cNvSpPr/>
            <p:nvPr/>
          </p:nvSpPr>
          <p:spPr>
            <a:xfrm>
              <a:off x="8301790" y="5152523"/>
              <a:ext cx="505326" cy="445168"/>
            </a:xfrm>
            <a:prstGeom prst="right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a:p>
          </p:txBody>
        </p:sp>
      </p:grpSp>
      <p:sp>
        <p:nvSpPr>
          <p:cNvPr id="16" name="TextBox 15">
            <a:extLst>
              <a:ext uri="{FF2B5EF4-FFF2-40B4-BE49-F238E27FC236}">
                <a16:creationId xmlns:a16="http://schemas.microsoft.com/office/drawing/2014/main" id="{FC6CE48A-349D-DBFE-8FAE-AF05CB8FBC30}"/>
              </a:ext>
            </a:extLst>
          </p:cNvPr>
          <p:cNvSpPr txBox="1"/>
          <p:nvPr/>
        </p:nvSpPr>
        <p:spPr>
          <a:xfrm>
            <a:off x="3049003" y="2055246"/>
            <a:ext cx="6093994" cy="369332"/>
          </a:xfrm>
          <a:prstGeom prst="rect">
            <a:avLst/>
          </a:prstGeom>
          <a:noFill/>
        </p:spPr>
        <p:txBody>
          <a:bodyPr wrap="square">
            <a:spAutoFit/>
          </a:bodyPr>
          <a:lstStyle/>
          <a:p>
            <a:pPr marL="0" indent="0" algn="ctr">
              <a:lnSpc>
                <a:spcPct val="100000"/>
              </a:lnSpc>
              <a:spcBef>
                <a:spcPts val="0"/>
              </a:spcBef>
              <a:spcAft>
                <a:spcPts val="0"/>
              </a:spcAft>
              <a:buNone/>
            </a:pPr>
            <a:r>
              <a:rPr lang="en-US" sz="1800" b="1" i="0" dirty="0">
                <a:effectLst/>
                <a:highlight>
                  <a:srgbClr val="FFFFFF"/>
                </a:highlight>
                <a:latin typeface="ui-sans-serif"/>
              </a:rPr>
              <a:t>"the quick brown fox jumps over the lazy dog</a:t>
            </a:r>
            <a:endParaRPr lang="en-US" sz="1800" b="1" dirty="0"/>
          </a:p>
        </p:txBody>
      </p:sp>
    </p:spTree>
    <p:extLst>
      <p:ext uri="{BB962C8B-B14F-4D97-AF65-F5344CB8AC3E}">
        <p14:creationId xmlns:p14="http://schemas.microsoft.com/office/powerpoint/2010/main" val="8635993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2F4D5-E6AB-402E-B5E5-D2A7B092C96E}"/>
              </a:ext>
            </a:extLst>
          </p:cNvPr>
          <p:cNvSpPr>
            <a:spLocks noGrp="1"/>
          </p:cNvSpPr>
          <p:nvPr>
            <p:ph type="sldNum" sz="quarter" idx="12"/>
          </p:nvPr>
        </p:nvSpPr>
        <p:spPr/>
        <p:txBody>
          <a:bodyPr/>
          <a:lstStyle/>
          <a:p>
            <a:fld id="{44BB4D1C-FC86-4246-8A40-7E29DDB064D8}" type="slidenum">
              <a:rPr lang="en-US" smtClean="0"/>
              <a:pPr/>
              <a:t>19</a:t>
            </a:fld>
            <a:endParaRPr lang="en-US" dirty="0"/>
          </a:p>
        </p:txBody>
      </p:sp>
      <p:sp>
        <p:nvSpPr>
          <p:cNvPr id="6" name="Rectangle 5">
            <a:extLst>
              <a:ext uri="{FF2B5EF4-FFF2-40B4-BE49-F238E27FC236}">
                <a16:creationId xmlns:a16="http://schemas.microsoft.com/office/drawing/2014/main" id="{5670AB6E-3AB2-4E81-8E9C-FD93CF20F51F}"/>
              </a:ext>
            </a:extLst>
          </p:cNvPr>
          <p:cNvSpPr/>
          <p:nvPr/>
        </p:nvSpPr>
        <p:spPr>
          <a:xfrm>
            <a:off x="876299" y="592482"/>
            <a:ext cx="10477499" cy="738664"/>
          </a:xfrm>
          <a:prstGeom prst="rect">
            <a:avLst/>
          </a:prstGeom>
        </p:spPr>
        <p:txBody>
          <a:bodyPr wrap="square" lIns="0" tIns="0" rIns="0" bIns="0" anchor="t">
            <a:spAutoFit/>
          </a:bodyPr>
          <a:lstStyle/>
          <a:p>
            <a:pPr algn="ctr"/>
            <a:r>
              <a:rPr lang="en-US" sz="4800" dirty="0"/>
              <a:t>Language Models Vs LLM</a:t>
            </a:r>
            <a:endParaRPr lang="da-DK" sz="4800" b="1" dirty="0">
              <a:solidFill>
                <a:srgbClr val="00B7CF"/>
              </a:solidFill>
              <a:latin typeface="+mj-lt"/>
            </a:endParaRPr>
          </a:p>
        </p:txBody>
      </p:sp>
      <p:sp>
        <p:nvSpPr>
          <p:cNvPr id="9" name="Rectangle 8">
            <a:extLst>
              <a:ext uri="{FF2B5EF4-FFF2-40B4-BE49-F238E27FC236}">
                <a16:creationId xmlns:a16="http://schemas.microsoft.com/office/drawing/2014/main" id="{D4FACCBB-7CE3-4B9C-8730-D15C10FE6E37}"/>
              </a:ext>
            </a:extLst>
          </p:cNvPr>
          <p:cNvSpPr/>
          <p:nvPr/>
        </p:nvSpPr>
        <p:spPr>
          <a:xfrm>
            <a:off x="847724" y="1981200"/>
            <a:ext cx="5163088" cy="523875"/>
          </a:xfrm>
          <a:prstGeom prst="rect">
            <a:avLst/>
          </a:prstGeom>
          <a:solidFill>
            <a:srgbClr val="00B7CF"/>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gn="ctr">
              <a:spcAft>
                <a:spcPts val="1200"/>
              </a:spcAft>
              <a:buClr>
                <a:srgbClr val="EA6C58"/>
              </a:buClr>
            </a:pPr>
            <a:r>
              <a:rPr lang="en-US" sz="1600" b="1" dirty="0">
                <a:latin typeface="+mj-lt"/>
              </a:rPr>
              <a:t> </a:t>
            </a:r>
          </a:p>
          <a:p>
            <a:pPr algn="ctr">
              <a:spcAft>
                <a:spcPts val="1200"/>
              </a:spcAft>
              <a:buClr>
                <a:srgbClr val="EA6C58"/>
              </a:buClr>
            </a:pPr>
            <a:r>
              <a:rPr lang="en-US" sz="1600" b="1" dirty="0">
                <a:latin typeface="+mj-lt"/>
              </a:rPr>
              <a:t>Language Models</a:t>
            </a:r>
          </a:p>
          <a:p>
            <a:pPr algn="ctr">
              <a:spcAft>
                <a:spcPts val="1200"/>
              </a:spcAft>
              <a:buClr>
                <a:srgbClr val="EA6C58"/>
              </a:buClr>
            </a:pPr>
            <a:endParaRPr lang="en-US" sz="1600" b="1" dirty="0">
              <a:latin typeface="+mj-lt"/>
            </a:endParaRPr>
          </a:p>
        </p:txBody>
      </p:sp>
      <p:sp>
        <p:nvSpPr>
          <p:cNvPr id="10" name="Rectangle 9">
            <a:extLst>
              <a:ext uri="{FF2B5EF4-FFF2-40B4-BE49-F238E27FC236}">
                <a16:creationId xmlns:a16="http://schemas.microsoft.com/office/drawing/2014/main" id="{206817E6-B048-47E8-A58C-4B35A4034734}"/>
              </a:ext>
            </a:extLst>
          </p:cNvPr>
          <p:cNvSpPr/>
          <p:nvPr/>
        </p:nvSpPr>
        <p:spPr>
          <a:xfrm>
            <a:off x="6190711" y="1981200"/>
            <a:ext cx="5163088" cy="523875"/>
          </a:xfrm>
          <a:prstGeom prst="rect">
            <a:avLst/>
          </a:prstGeom>
          <a:solidFill>
            <a:srgbClr val="2E2D3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spcAft>
                <a:spcPts val="1200"/>
              </a:spcAft>
              <a:buClr>
                <a:srgbClr val="EA6C58"/>
              </a:buClr>
            </a:pPr>
            <a:r>
              <a:rPr lang="en-US" sz="1400" b="1" dirty="0">
                <a:latin typeface="+mj-lt"/>
              </a:rPr>
              <a:t> </a:t>
            </a:r>
          </a:p>
          <a:p>
            <a:pPr algn="ctr">
              <a:spcAft>
                <a:spcPts val="1200"/>
              </a:spcAft>
              <a:buClr>
                <a:srgbClr val="EA6C58"/>
              </a:buClr>
            </a:pPr>
            <a:r>
              <a:rPr lang="en-US" sz="1400" b="1" dirty="0">
                <a:latin typeface="+mj-lt"/>
              </a:rPr>
              <a:t>Large Language Models</a:t>
            </a:r>
          </a:p>
          <a:p>
            <a:pPr>
              <a:spcAft>
                <a:spcPts val="1200"/>
              </a:spcAft>
              <a:buClr>
                <a:srgbClr val="EA6C58"/>
              </a:buClr>
            </a:pPr>
            <a:endParaRPr lang="en-US" sz="1400" b="1" dirty="0">
              <a:latin typeface="+mj-lt"/>
            </a:endParaRPr>
          </a:p>
        </p:txBody>
      </p:sp>
      <p:sp>
        <p:nvSpPr>
          <p:cNvPr id="11" name="Rectangle 10">
            <a:extLst>
              <a:ext uri="{FF2B5EF4-FFF2-40B4-BE49-F238E27FC236}">
                <a16:creationId xmlns:a16="http://schemas.microsoft.com/office/drawing/2014/main" id="{6D6ABD2A-52FB-4742-9594-39DC3CAEE498}"/>
              </a:ext>
            </a:extLst>
          </p:cNvPr>
          <p:cNvSpPr/>
          <p:nvPr/>
        </p:nvSpPr>
        <p:spPr>
          <a:xfrm>
            <a:off x="847724" y="2659644"/>
            <a:ext cx="5163088" cy="31506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 name="Rectangle 11">
            <a:extLst>
              <a:ext uri="{FF2B5EF4-FFF2-40B4-BE49-F238E27FC236}">
                <a16:creationId xmlns:a16="http://schemas.microsoft.com/office/drawing/2014/main" id="{0D905FB3-CABB-405B-B9D0-FDBA6CF6DA20}"/>
              </a:ext>
            </a:extLst>
          </p:cNvPr>
          <p:cNvSpPr/>
          <p:nvPr/>
        </p:nvSpPr>
        <p:spPr>
          <a:xfrm>
            <a:off x="6190711" y="2659644"/>
            <a:ext cx="5163088" cy="31506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4" name="Group 3">
            <a:extLst>
              <a:ext uri="{FF2B5EF4-FFF2-40B4-BE49-F238E27FC236}">
                <a16:creationId xmlns:a16="http://schemas.microsoft.com/office/drawing/2014/main" id="{5EFE40B9-55B0-46F1-AF36-B8D3ED8B005C}"/>
              </a:ext>
            </a:extLst>
          </p:cNvPr>
          <p:cNvGrpSpPr/>
          <p:nvPr/>
        </p:nvGrpSpPr>
        <p:grpSpPr>
          <a:xfrm>
            <a:off x="1194971" y="2766951"/>
            <a:ext cx="4468594" cy="2782102"/>
            <a:chOff x="1194971" y="2787928"/>
            <a:chExt cx="4468594" cy="2782102"/>
          </a:xfrm>
        </p:grpSpPr>
        <p:sp>
          <p:nvSpPr>
            <p:cNvPr id="14" name="Rectangle 13">
              <a:extLst>
                <a:ext uri="{FF2B5EF4-FFF2-40B4-BE49-F238E27FC236}">
                  <a16:creationId xmlns:a16="http://schemas.microsoft.com/office/drawing/2014/main" id="{1290678B-D4AD-4AA7-B131-D70F8947B531}"/>
                </a:ext>
              </a:extLst>
            </p:cNvPr>
            <p:cNvSpPr/>
            <p:nvPr/>
          </p:nvSpPr>
          <p:spPr>
            <a:xfrm>
              <a:off x="1194971" y="2787928"/>
              <a:ext cx="4411444" cy="492443"/>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Relies heavily on predefined rules and statistical methods.</a:t>
              </a:r>
            </a:p>
          </p:txBody>
        </p:sp>
        <p:sp>
          <p:nvSpPr>
            <p:cNvPr id="17" name="Rectangle 16">
              <a:extLst>
                <a:ext uri="{FF2B5EF4-FFF2-40B4-BE49-F238E27FC236}">
                  <a16:creationId xmlns:a16="http://schemas.microsoft.com/office/drawing/2014/main" id="{2E93D976-7B14-456F-993A-54ACB13D7CB8}"/>
                </a:ext>
              </a:extLst>
            </p:cNvPr>
            <p:cNvSpPr/>
            <p:nvPr/>
          </p:nvSpPr>
          <p:spPr>
            <a:xfrm>
              <a:off x="1194971" y="3551147"/>
              <a:ext cx="4411444" cy="492443"/>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Typically require feature engineering and manual tuning</a:t>
              </a:r>
            </a:p>
          </p:txBody>
        </p:sp>
        <p:sp>
          <p:nvSpPr>
            <p:cNvPr id="18" name="Rectangle 17">
              <a:extLst>
                <a:ext uri="{FF2B5EF4-FFF2-40B4-BE49-F238E27FC236}">
                  <a16:creationId xmlns:a16="http://schemas.microsoft.com/office/drawing/2014/main" id="{BF673466-6097-47F0-B167-936B3F13514D}"/>
                </a:ext>
              </a:extLst>
            </p:cNvPr>
            <p:cNvSpPr/>
            <p:nvPr/>
          </p:nvSpPr>
          <p:spPr>
            <a:xfrm>
              <a:off x="1194971" y="4314366"/>
              <a:ext cx="4411444" cy="738664"/>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Limited by the quality and quantity of training data, Often tailored to specific tasks and domains</a:t>
              </a:r>
            </a:p>
          </p:txBody>
        </p:sp>
        <p:sp>
          <p:nvSpPr>
            <p:cNvPr id="19" name="Rectangle 18">
              <a:extLst>
                <a:ext uri="{FF2B5EF4-FFF2-40B4-BE49-F238E27FC236}">
                  <a16:creationId xmlns:a16="http://schemas.microsoft.com/office/drawing/2014/main" id="{96509595-A534-4B6B-A839-A93BA1081F9A}"/>
                </a:ext>
              </a:extLst>
            </p:cNvPr>
            <p:cNvSpPr/>
            <p:nvPr/>
          </p:nvSpPr>
          <p:spPr>
            <a:xfrm>
              <a:off x="1194971" y="5077587"/>
              <a:ext cx="4411444" cy="492443"/>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N gram , HMM , Conditional Random Fields, LDA , Wordnet</a:t>
              </a:r>
            </a:p>
          </p:txBody>
        </p:sp>
        <p:cxnSp>
          <p:nvCxnSpPr>
            <p:cNvPr id="28" name="Straight Connector 27">
              <a:extLst>
                <a:ext uri="{FF2B5EF4-FFF2-40B4-BE49-F238E27FC236}">
                  <a16:creationId xmlns:a16="http://schemas.microsoft.com/office/drawing/2014/main" id="{4132B329-4239-4525-94C6-3551C8CDB206}"/>
                </a:ext>
              </a:extLst>
            </p:cNvPr>
            <p:cNvCxnSpPr>
              <a:cxnSpLocks/>
            </p:cNvCxnSpPr>
            <p:nvPr/>
          </p:nvCxnSpPr>
          <p:spPr>
            <a:xfrm>
              <a:off x="1362075" y="3492703"/>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1BDAF02-A00D-4A9D-B568-9EBD03FE6928}"/>
                </a:ext>
              </a:extLst>
            </p:cNvPr>
            <p:cNvCxnSpPr>
              <a:cxnSpLocks/>
            </p:cNvCxnSpPr>
            <p:nvPr/>
          </p:nvCxnSpPr>
          <p:spPr>
            <a:xfrm>
              <a:off x="1362075" y="4255922"/>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2907C3D-DEB7-4521-B28F-8739D0F75EA7}"/>
                </a:ext>
              </a:extLst>
            </p:cNvPr>
            <p:cNvCxnSpPr>
              <a:cxnSpLocks/>
            </p:cNvCxnSpPr>
            <p:nvPr/>
          </p:nvCxnSpPr>
          <p:spPr>
            <a:xfrm>
              <a:off x="1362075" y="5019141"/>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D0DE6517-022E-44F4-A49D-9E12EC6C6356}"/>
              </a:ext>
            </a:extLst>
          </p:cNvPr>
          <p:cNvGrpSpPr/>
          <p:nvPr/>
        </p:nvGrpSpPr>
        <p:grpSpPr>
          <a:xfrm>
            <a:off x="6537958" y="2766951"/>
            <a:ext cx="4468594" cy="2231213"/>
            <a:chOff x="6537958" y="2787928"/>
            <a:chExt cx="4468594" cy="2231213"/>
          </a:xfrm>
        </p:grpSpPr>
        <p:sp>
          <p:nvSpPr>
            <p:cNvPr id="45" name="Rectangle 44">
              <a:extLst>
                <a:ext uri="{FF2B5EF4-FFF2-40B4-BE49-F238E27FC236}">
                  <a16:creationId xmlns:a16="http://schemas.microsoft.com/office/drawing/2014/main" id="{8578AACA-F4E2-4642-85E1-8D30515F88D7}"/>
                </a:ext>
              </a:extLst>
            </p:cNvPr>
            <p:cNvSpPr/>
            <p:nvPr/>
          </p:nvSpPr>
          <p:spPr>
            <a:xfrm>
              <a:off x="6537958" y="2787928"/>
              <a:ext cx="4411444" cy="738664"/>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Deep stacked neural network architectures learn patterns and relationships directly from vast amounts of text data</a:t>
              </a:r>
            </a:p>
          </p:txBody>
        </p:sp>
        <p:sp>
          <p:nvSpPr>
            <p:cNvPr id="46" name="Rectangle 45">
              <a:extLst>
                <a:ext uri="{FF2B5EF4-FFF2-40B4-BE49-F238E27FC236}">
                  <a16:creationId xmlns:a16="http://schemas.microsoft.com/office/drawing/2014/main" id="{22E3A54A-BF61-4708-8B26-65D43FB5AAE3}"/>
                </a:ext>
              </a:extLst>
            </p:cNvPr>
            <p:cNvSpPr/>
            <p:nvPr/>
          </p:nvSpPr>
          <p:spPr>
            <a:xfrm>
              <a:off x="6537958" y="3551147"/>
              <a:ext cx="4411444" cy="215444"/>
            </a:xfrm>
            <a:prstGeom prst="rect">
              <a:avLst/>
            </a:prstGeom>
          </p:spPr>
          <p:txBody>
            <a:bodyPr wrap="square" lIns="0" tIns="0" rIns="0" bIns="0">
              <a:spAutoFit/>
            </a:bodyPr>
            <a:lstStyle/>
            <a:p>
              <a:r>
                <a:rPr lang="en-US" sz="1400" b="0" i="0" kern="1200" dirty="0">
                  <a:solidFill>
                    <a:schemeClr val="dk1"/>
                  </a:solidFill>
                  <a:effectLst/>
                  <a:latin typeface="+mn-lt"/>
                  <a:ea typeface="+mn-ea"/>
                  <a:cs typeface="+mn-cs"/>
                </a:rPr>
                <a:t> </a:t>
              </a:r>
              <a:endParaRPr lang="en-IN" sz="1600" dirty="0"/>
            </a:p>
          </p:txBody>
        </p:sp>
        <p:sp>
          <p:nvSpPr>
            <p:cNvPr id="47" name="Rectangle 46">
              <a:extLst>
                <a:ext uri="{FF2B5EF4-FFF2-40B4-BE49-F238E27FC236}">
                  <a16:creationId xmlns:a16="http://schemas.microsoft.com/office/drawing/2014/main" id="{5B02A841-BE65-404C-A5E3-880B81918E8C}"/>
                </a:ext>
              </a:extLst>
            </p:cNvPr>
            <p:cNvSpPr/>
            <p:nvPr/>
          </p:nvSpPr>
          <p:spPr>
            <a:xfrm>
              <a:off x="6537958" y="4314366"/>
              <a:ext cx="4411444" cy="215444"/>
            </a:xfrm>
            <a:prstGeom prst="rect">
              <a:avLst/>
            </a:prstGeom>
          </p:spPr>
          <p:txBody>
            <a:bodyPr wrap="square" lIns="0" tIns="0" rIns="0" bIns="0">
              <a:spAutoFit/>
            </a:bodyPr>
            <a:lstStyle/>
            <a:p>
              <a:pPr marL="171450" indent="-171450">
                <a:spcAft>
                  <a:spcPts val="1200"/>
                </a:spcAft>
                <a:buClr>
                  <a:srgbClr val="2E2D31"/>
                </a:buClr>
                <a:buFont typeface="Roboto Light" panose="02000000000000000000" pitchFamily="2" charset="0"/>
                <a:buChar char="›"/>
              </a:pPr>
              <a:endParaRPr lang="en-US" sz="1400" dirty="0"/>
            </a:p>
          </p:txBody>
        </p:sp>
        <p:cxnSp>
          <p:nvCxnSpPr>
            <p:cNvPr id="50" name="Straight Connector 49">
              <a:extLst>
                <a:ext uri="{FF2B5EF4-FFF2-40B4-BE49-F238E27FC236}">
                  <a16:creationId xmlns:a16="http://schemas.microsoft.com/office/drawing/2014/main" id="{1D9B5E12-E574-4145-8699-6BA8A606EEB8}"/>
                </a:ext>
              </a:extLst>
            </p:cNvPr>
            <p:cNvCxnSpPr>
              <a:cxnSpLocks/>
            </p:cNvCxnSpPr>
            <p:nvPr/>
          </p:nvCxnSpPr>
          <p:spPr>
            <a:xfrm>
              <a:off x="6705062" y="3492703"/>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6921613-E781-4D7E-B6C8-03DFDF40DFD4}"/>
                </a:ext>
              </a:extLst>
            </p:cNvPr>
            <p:cNvCxnSpPr>
              <a:cxnSpLocks/>
            </p:cNvCxnSpPr>
            <p:nvPr/>
          </p:nvCxnSpPr>
          <p:spPr>
            <a:xfrm>
              <a:off x="6705062" y="4255922"/>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B92DCC5-3520-420E-85A0-F7F72DA53F05}"/>
                </a:ext>
              </a:extLst>
            </p:cNvPr>
            <p:cNvCxnSpPr>
              <a:cxnSpLocks/>
            </p:cNvCxnSpPr>
            <p:nvPr/>
          </p:nvCxnSpPr>
          <p:spPr>
            <a:xfrm>
              <a:off x="6705062" y="5019141"/>
              <a:ext cx="430149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5" name="Isosceles Triangle 54">
            <a:extLst>
              <a:ext uri="{FF2B5EF4-FFF2-40B4-BE49-F238E27FC236}">
                <a16:creationId xmlns:a16="http://schemas.microsoft.com/office/drawing/2014/main" id="{995AC207-DFBE-44A0-981C-271D2289534A}"/>
              </a:ext>
            </a:extLst>
          </p:cNvPr>
          <p:cNvSpPr/>
          <p:nvPr/>
        </p:nvSpPr>
        <p:spPr>
          <a:xfrm rot="10800000">
            <a:off x="1019176" y="1981200"/>
            <a:ext cx="215899" cy="762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a:extLst>
              <a:ext uri="{FF2B5EF4-FFF2-40B4-BE49-F238E27FC236}">
                <a16:creationId xmlns:a16="http://schemas.microsoft.com/office/drawing/2014/main" id="{0E939E46-9857-4E90-95AB-F35CB9FB46EC}"/>
              </a:ext>
            </a:extLst>
          </p:cNvPr>
          <p:cNvSpPr/>
          <p:nvPr/>
        </p:nvSpPr>
        <p:spPr>
          <a:xfrm rot="10800000">
            <a:off x="6362162" y="1981200"/>
            <a:ext cx="215899" cy="762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D0D707C-6213-E6AE-3284-0CF757E783B4}"/>
              </a:ext>
            </a:extLst>
          </p:cNvPr>
          <p:cNvSpPr/>
          <p:nvPr/>
        </p:nvSpPr>
        <p:spPr>
          <a:xfrm>
            <a:off x="6470111" y="3577688"/>
            <a:ext cx="4411444" cy="492443"/>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Require minimal manual intervention or feature engineering.</a:t>
            </a:r>
          </a:p>
        </p:txBody>
      </p:sp>
      <p:sp>
        <p:nvSpPr>
          <p:cNvPr id="7" name="Rectangle 6">
            <a:extLst>
              <a:ext uri="{FF2B5EF4-FFF2-40B4-BE49-F238E27FC236}">
                <a16:creationId xmlns:a16="http://schemas.microsoft.com/office/drawing/2014/main" id="{47735C76-7DFA-7749-8A5A-75B97E396E23}"/>
              </a:ext>
            </a:extLst>
          </p:cNvPr>
          <p:cNvSpPr/>
          <p:nvPr/>
        </p:nvSpPr>
        <p:spPr>
          <a:xfrm>
            <a:off x="6537958" y="4235919"/>
            <a:ext cx="4411444" cy="1138773"/>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US" sz="1600" dirty="0"/>
              <a:t>Benefit from massive scale and diverse data sources. Versatile across a wide range of tasks without task-specific fine-tuning</a:t>
            </a:r>
          </a:p>
          <a:p>
            <a:pPr marL="171450" indent="-171450">
              <a:spcAft>
                <a:spcPts val="1200"/>
              </a:spcAft>
              <a:buClr>
                <a:srgbClr val="00B7CF"/>
              </a:buClr>
              <a:buFont typeface="Roboto Light" panose="02000000000000000000" pitchFamily="2" charset="0"/>
              <a:buChar char="›"/>
            </a:pPr>
            <a:endParaRPr lang="en-US" sz="1600" dirty="0"/>
          </a:p>
        </p:txBody>
      </p:sp>
      <p:sp>
        <p:nvSpPr>
          <p:cNvPr id="15" name="Rectangle 14">
            <a:extLst>
              <a:ext uri="{FF2B5EF4-FFF2-40B4-BE49-F238E27FC236}">
                <a16:creationId xmlns:a16="http://schemas.microsoft.com/office/drawing/2014/main" id="{9F9372D0-F970-26EE-B1FB-C5B38456BEB0}"/>
              </a:ext>
            </a:extLst>
          </p:cNvPr>
          <p:cNvSpPr/>
          <p:nvPr/>
        </p:nvSpPr>
        <p:spPr>
          <a:xfrm>
            <a:off x="6470111" y="5100028"/>
            <a:ext cx="4883687" cy="646331"/>
          </a:xfrm>
          <a:prstGeom prst="rect">
            <a:avLst/>
          </a:prstGeom>
        </p:spPr>
        <p:txBody>
          <a:bodyPr wrap="square" lIns="0" tIns="0" rIns="0" bIns="0">
            <a:spAutoFit/>
          </a:bodyPr>
          <a:lstStyle/>
          <a:p>
            <a:pPr marL="171450" indent="-171450">
              <a:spcAft>
                <a:spcPts val="1200"/>
              </a:spcAft>
              <a:buClr>
                <a:srgbClr val="00B7CF"/>
              </a:buClr>
              <a:buFont typeface="Roboto Light" panose="02000000000000000000" pitchFamily="2" charset="0"/>
              <a:buChar char="›"/>
            </a:pPr>
            <a:r>
              <a:rPr lang="en-IN" sz="1400" dirty="0"/>
              <a:t>GPT (Generative Pre-trained Transformer), BERT (Bidirectional Encoder Representations from Transformers), T5 (Text-to-Text Transfer Transformer), </a:t>
            </a:r>
            <a:r>
              <a:rPr lang="en-US" sz="1400" dirty="0" err="1"/>
              <a:t>RoBERTa</a:t>
            </a:r>
            <a:r>
              <a:rPr lang="en-US" sz="1400" dirty="0"/>
              <a:t> (Robustly optimized BERT</a:t>
            </a:r>
          </a:p>
        </p:txBody>
      </p:sp>
    </p:spTree>
    <p:extLst>
      <p:ext uri="{BB962C8B-B14F-4D97-AF65-F5344CB8AC3E}">
        <p14:creationId xmlns:p14="http://schemas.microsoft.com/office/powerpoint/2010/main" val="97600218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BE7FF5-1B44-48D7-8A50-FE909C0A4615}"/>
              </a:ext>
            </a:extLst>
          </p:cNvPr>
          <p:cNvSpPr>
            <a:spLocks noGrp="1"/>
          </p:cNvSpPr>
          <p:nvPr>
            <p:ph type="sldNum" sz="quarter" idx="10"/>
          </p:nvPr>
        </p:nvSpPr>
        <p:spPr/>
        <p:txBody>
          <a:bodyPr/>
          <a:lstStyle/>
          <a:p>
            <a:pPr algn="r"/>
            <a:r>
              <a:rPr lang="en-ID" dirty="0"/>
              <a:t>0</a:t>
            </a:r>
            <a:fld id="{8BEBFD21-0730-494A-B9A8-7A1E682354E2}" type="slidenum">
              <a:rPr lang="en-ID" smtClean="0"/>
              <a:pPr algn="r"/>
              <a:t>2</a:t>
            </a:fld>
            <a:endParaRPr lang="en-ID" dirty="0"/>
          </a:p>
        </p:txBody>
      </p:sp>
      <p:sp>
        <p:nvSpPr>
          <p:cNvPr id="3" name="TextBox 2">
            <a:extLst>
              <a:ext uri="{FF2B5EF4-FFF2-40B4-BE49-F238E27FC236}">
                <a16:creationId xmlns:a16="http://schemas.microsoft.com/office/drawing/2014/main" id="{A0595AA7-3F43-4DB1-A7FE-0576A299A69D}"/>
              </a:ext>
            </a:extLst>
          </p:cNvPr>
          <p:cNvSpPr txBox="1"/>
          <p:nvPr/>
        </p:nvSpPr>
        <p:spPr>
          <a:xfrm>
            <a:off x="609600" y="530394"/>
            <a:ext cx="10972800" cy="1107996"/>
          </a:xfrm>
          <a:prstGeom prst="rect">
            <a:avLst/>
          </a:prstGeom>
          <a:noFill/>
        </p:spPr>
        <p:txBody>
          <a:bodyPr wrap="square" lIns="0" tIns="0" rIns="0" bIns="0" rtlCol="0">
            <a:spAutoFit/>
          </a:bodyPr>
          <a:lstStyle/>
          <a:p>
            <a:r>
              <a:rPr lang="en-US" sz="4000" b="1" dirty="0">
                <a:solidFill>
                  <a:srgbClr val="001233"/>
                </a:solidFill>
                <a:latin typeface="Segoe UI" panose="020B0502040204020203" pitchFamily="34" charset="0"/>
                <a:cs typeface="Segoe UI" panose="020B0502040204020203" pitchFamily="34" charset="0"/>
              </a:rPr>
              <a:t>Topics to discuss</a:t>
            </a:r>
            <a:br>
              <a:rPr lang="en-US" sz="4000" b="1" dirty="0">
                <a:solidFill>
                  <a:srgbClr val="001233"/>
                </a:solidFill>
                <a:latin typeface="Segoe UI" panose="020B0502040204020203" pitchFamily="34" charset="0"/>
                <a:cs typeface="Segoe UI" panose="020B0502040204020203" pitchFamily="34" charset="0"/>
              </a:rPr>
            </a:br>
            <a:r>
              <a:rPr lang="en-US" sz="3200" dirty="0">
                <a:solidFill>
                  <a:srgbClr val="0466C8"/>
                </a:solidFill>
                <a:latin typeface="Segoe UI Light" panose="020B0502040204020203" pitchFamily="34" charset="0"/>
                <a:cs typeface="Segoe UI Light" panose="020B0502040204020203" pitchFamily="34" charset="0"/>
              </a:rPr>
              <a:t> Agenda</a:t>
            </a:r>
          </a:p>
        </p:txBody>
      </p:sp>
      <p:sp>
        <p:nvSpPr>
          <p:cNvPr id="5" name="Rectangle 4">
            <a:extLst>
              <a:ext uri="{FF2B5EF4-FFF2-40B4-BE49-F238E27FC236}">
                <a16:creationId xmlns:a16="http://schemas.microsoft.com/office/drawing/2014/main" id="{26BBC640-8401-4A07-9BBC-C6C0E2AF77AD}"/>
              </a:ext>
            </a:extLst>
          </p:cNvPr>
          <p:cNvSpPr/>
          <p:nvPr/>
        </p:nvSpPr>
        <p:spPr>
          <a:xfrm>
            <a:off x="2028824"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a:spcBef>
                <a:spcPts val="2400"/>
              </a:spcBef>
            </a:pPr>
            <a:r>
              <a:rPr lang="en-US" sz="1600" b="1" dirty="0">
                <a:solidFill>
                  <a:schemeClr val="bg1"/>
                </a:solidFill>
                <a:latin typeface="Segoe UI" panose="020B0502040204020203" pitchFamily="34" charset="0"/>
                <a:ea typeface="Open Sans" charset="0"/>
                <a:cs typeface="Segoe UI" panose="020B0502040204020203" pitchFamily="34" charset="0"/>
              </a:rPr>
              <a:t>Overview of NLP</a:t>
            </a:r>
          </a:p>
          <a:p>
            <a:pPr>
              <a:spcBef>
                <a:spcPts val="2400"/>
              </a:spcBef>
            </a:pPr>
            <a:r>
              <a:rPr lang="en-US" sz="1600" b="1" dirty="0">
                <a:solidFill>
                  <a:schemeClr val="bg1"/>
                </a:solidFill>
                <a:latin typeface="Segoe UI" panose="020B0502040204020203" pitchFamily="34" charset="0"/>
                <a:ea typeface="Open Sans" charset="0"/>
                <a:cs typeface="Segoe UI" panose="020B0502040204020203" pitchFamily="34" charset="0"/>
              </a:rPr>
              <a:t>What , Why ,History Timeline</a:t>
            </a:r>
          </a:p>
        </p:txBody>
      </p:sp>
      <p:sp>
        <p:nvSpPr>
          <p:cNvPr id="6" name="Rectangle 5">
            <a:extLst>
              <a:ext uri="{FF2B5EF4-FFF2-40B4-BE49-F238E27FC236}">
                <a16:creationId xmlns:a16="http://schemas.microsoft.com/office/drawing/2014/main" id="{92E53AFC-E979-4ACE-949C-AA5F18BBFFE3}"/>
              </a:ext>
            </a:extLst>
          </p:cNvPr>
          <p:cNvSpPr/>
          <p:nvPr/>
        </p:nvSpPr>
        <p:spPr>
          <a:xfrm>
            <a:off x="2321151"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1</a:t>
            </a:r>
          </a:p>
        </p:txBody>
      </p:sp>
      <p:sp>
        <p:nvSpPr>
          <p:cNvPr id="9" name="Rectangle 8">
            <a:extLst>
              <a:ext uri="{FF2B5EF4-FFF2-40B4-BE49-F238E27FC236}">
                <a16:creationId xmlns:a16="http://schemas.microsoft.com/office/drawing/2014/main" id="{58EF9E2A-2871-4BB5-B230-B0B546780378}"/>
              </a:ext>
            </a:extLst>
          </p:cNvPr>
          <p:cNvSpPr/>
          <p:nvPr/>
        </p:nvSpPr>
        <p:spPr>
          <a:xfrm>
            <a:off x="7163010"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lvl="0">
              <a:spcBef>
                <a:spcPts val="2400"/>
              </a:spcBef>
            </a:pPr>
            <a:r>
              <a:rPr lang="en-US" sz="1600" b="1" dirty="0">
                <a:solidFill>
                  <a:srgbClr val="FFFFFF">
                    <a:alpha val="70000"/>
                  </a:srgbClr>
                </a:solidFill>
                <a:latin typeface="Segoe UI" panose="020B0502040204020203" pitchFamily="34" charset="0"/>
                <a:cs typeface="Segoe UI" panose="020B0502040204020203" pitchFamily="34" charset="0"/>
              </a:rPr>
              <a:t>How ??? Phases of NLP, subfields, Components</a:t>
            </a:r>
          </a:p>
        </p:txBody>
      </p:sp>
      <p:sp>
        <p:nvSpPr>
          <p:cNvPr id="10" name="Rectangle 9">
            <a:extLst>
              <a:ext uri="{FF2B5EF4-FFF2-40B4-BE49-F238E27FC236}">
                <a16:creationId xmlns:a16="http://schemas.microsoft.com/office/drawing/2014/main" id="{FCF46712-D73F-42AF-A5A4-2AD913C73753}"/>
              </a:ext>
            </a:extLst>
          </p:cNvPr>
          <p:cNvSpPr/>
          <p:nvPr/>
        </p:nvSpPr>
        <p:spPr>
          <a:xfrm>
            <a:off x="7455337"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3</a:t>
            </a:r>
          </a:p>
        </p:txBody>
      </p:sp>
      <p:sp>
        <p:nvSpPr>
          <p:cNvPr id="13" name="Rectangle 12">
            <a:extLst>
              <a:ext uri="{FF2B5EF4-FFF2-40B4-BE49-F238E27FC236}">
                <a16:creationId xmlns:a16="http://schemas.microsoft.com/office/drawing/2014/main" id="{5216C0AE-7F1F-44A8-9482-C8F51DB21DCF}"/>
              </a:ext>
            </a:extLst>
          </p:cNvPr>
          <p:cNvSpPr/>
          <p:nvPr/>
        </p:nvSpPr>
        <p:spPr>
          <a:xfrm>
            <a:off x="9730104"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a:spcBef>
                <a:spcPts val="2400"/>
              </a:spcBef>
            </a:pPr>
            <a:r>
              <a:rPr lang="en-US" dirty="0">
                <a:solidFill>
                  <a:schemeClr val="bg1"/>
                </a:solidFill>
                <a:latin typeface="Segoe UI" panose="020B0502040204020203" pitchFamily="34" charset="0"/>
                <a:cs typeface="Segoe UI" panose="020B0502040204020203" pitchFamily="34" charset="0"/>
              </a:rPr>
              <a:t>Language Modelling</a:t>
            </a:r>
          </a:p>
          <a:p>
            <a:pPr>
              <a:spcBef>
                <a:spcPts val="2400"/>
              </a:spcBef>
            </a:pPr>
            <a:r>
              <a:rPr lang="en-US" dirty="0">
                <a:solidFill>
                  <a:schemeClr val="bg1"/>
                </a:solidFill>
                <a:latin typeface="Segoe UI" panose="020B0502040204020203" pitchFamily="34" charset="0"/>
                <a:cs typeface="Segoe UI" panose="020B0502040204020203" pitchFamily="34" charset="0"/>
              </a:rPr>
              <a:t>LM vs LLM </a:t>
            </a:r>
          </a:p>
        </p:txBody>
      </p:sp>
      <p:sp>
        <p:nvSpPr>
          <p:cNvPr id="14" name="Rectangle 13">
            <a:extLst>
              <a:ext uri="{FF2B5EF4-FFF2-40B4-BE49-F238E27FC236}">
                <a16:creationId xmlns:a16="http://schemas.microsoft.com/office/drawing/2014/main" id="{2BB8CE65-8401-4EB3-B016-D8D73E1814F6}"/>
              </a:ext>
            </a:extLst>
          </p:cNvPr>
          <p:cNvSpPr/>
          <p:nvPr/>
        </p:nvSpPr>
        <p:spPr>
          <a:xfrm>
            <a:off x="10022431"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4</a:t>
            </a:r>
          </a:p>
        </p:txBody>
      </p:sp>
      <p:sp>
        <p:nvSpPr>
          <p:cNvPr id="17" name="Rectangle 16">
            <a:extLst>
              <a:ext uri="{FF2B5EF4-FFF2-40B4-BE49-F238E27FC236}">
                <a16:creationId xmlns:a16="http://schemas.microsoft.com/office/drawing/2014/main" id="{652C4AB8-A587-42E3-837B-009E8F9F94DD}"/>
              </a:ext>
            </a:extLst>
          </p:cNvPr>
          <p:cNvSpPr/>
          <p:nvPr/>
        </p:nvSpPr>
        <p:spPr>
          <a:xfrm>
            <a:off x="4595917" y="2371726"/>
            <a:ext cx="2461896" cy="3682364"/>
          </a:xfrm>
          <a:prstGeom prst="rect">
            <a:avLst/>
          </a:prstGeom>
          <a:solidFill>
            <a:srgbClr val="0466C8"/>
          </a:solidFill>
          <a:ln>
            <a:noFill/>
          </a:ln>
          <a:effectLst>
            <a:outerShdw blurRad="762000" dist="254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828800" rIns="274320" bIns="0" rtlCol="0" anchor="t" anchorCtr="0"/>
          <a:lstStyle/>
          <a:p>
            <a:pPr lvl="0">
              <a:spcBef>
                <a:spcPts val="2400"/>
              </a:spcBef>
            </a:pPr>
            <a:r>
              <a:rPr lang="en-US" b="1" dirty="0">
                <a:solidFill>
                  <a:srgbClr val="FFFFFF">
                    <a:alpha val="70000"/>
                  </a:srgbClr>
                </a:solidFill>
                <a:latin typeface="Segoe UI" panose="020B0502040204020203" pitchFamily="34" charset="0"/>
                <a:cs typeface="Segoe UI" panose="020B0502040204020203" pitchFamily="34" charset="0"/>
              </a:rPr>
              <a:t>Applications and Business Use Cases </a:t>
            </a:r>
          </a:p>
          <a:p>
            <a:pPr lvl="0">
              <a:spcBef>
                <a:spcPts val="2400"/>
              </a:spcBef>
            </a:pPr>
            <a:endParaRPr lang="en-US" sz="1000" dirty="0">
              <a:solidFill>
                <a:srgbClr val="FFFFFF">
                  <a:alpha val="70000"/>
                </a:srgbClr>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4E3B0E2D-9A09-4B79-85BC-4AD4FAF0212B}"/>
              </a:ext>
            </a:extLst>
          </p:cNvPr>
          <p:cNvSpPr/>
          <p:nvPr/>
        </p:nvSpPr>
        <p:spPr>
          <a:xfrm>
            <a:off x="4885803" y="2949672"/>
            <a:ext cx="647613" cy="769441"/>
          </a:xfrm>
          <a:prstGeom prst="rect">
            <a:avLst/>
          </a:prstGeom>
        </p:spPr>
        <p:txBody>
          <a:bodyPr wrap="none" lIns="0" rIns="0">
            <a:spAutoFit/>
          </a:bodyPr>
          <a:lstStyle/>
          <a:p>
            <a:pPr algn="ctr">
              <a:spcBef>
                <a:spcPts val="2400"/>
              </a:spcBef>
            </a:pPr>
            <a:r>
              <a:rPr lang="en-US" sz="4400" b="1" dirty="0">
                <a:solidFill>
                  <a:srgbClr val="FFFFFF"/>
                </a:solidFill>
                <a:latin typeface="Segoe UI" panose="020B0502040204020203" pitchFamily="34" charset="0"/>
                <a:ea typeface="Open Sans" charset="0"/>
                <a:cs typeface="Segoe UI" panose="020B0502040204020203" pitchFamily="34" charset="0"/>
              </a:rPr>
              <a:t>02</a:t>
            </a:r>
          </a:p>
        </p:txBody>
      </p:sp>
      <p:pic>
        <p:nvPicPr>
          <p:cNvPr id="24" name="Graphic 23">
            <a:extLst>
              <a:ext uri="{FF2B5EF4-FFF2-40B4-BE49-F238E27FC236}">
                <a16:creationId xmlns:a16="http://schemas.microsoft.com/office/drawing/2014/main" id="{C7EAD0AF-129B-4D54-8114-C5C8049CD6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90699" y="2638523"/>
            <a:ext cx="391390" cy="358774"/>
          </a:xfrm>
          <a:prstGeom prst="rect">
            <a:avLst/>
          </a:prstGeom>
        </p:spPr>
      </p:pic>
    </p:spTree>
    <p:extLst>
      <p:ext uri="{BB962C8B-B14F-4D97-AF65-F5344CB8AC3E}">
        <p14:creationId xmlns:p14="http://schemas.microsoft.com/office/powerpoint/2010/main" val="668701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44006-BF36-4524-9BD2-40B5B564F22C}"/>
              </a:ext>
            </a:extLst>
          </p:cNvPr>
          <p:cNvSpPr>
            <a:spLocks noGrp="1"/>
          </p:cNvSpPr>
          <p:nvPr>
            <p:ph type="title"/>
          </p:nvPr>
        </p:nvSpPr>
        <p:spPr>
          <a:xfrm>
            <a:off x="416344" y="286603"/>
            <a:ext cx="10058400" cy="702305"/>
          </a:xfrm>
        </p:spPr>
        <p:txBody>
          <a:bodyPr>
            <a:normAutofit fontScale="90000"/>
          </a:bodyPr>
          <a:lstStyle/>
          <a:p>
            <a:pPr algn="ctr"/>
            <a:r>
              <a:rPr lang="en-IN" dirty="0"/>
              <a:t>NLP Tools</a:t>
            </a:r>
          </a:p>
        </p:txBody>
      </p:sp>
      <p:graphicFrame>
        <p:nvGraphicFramePr>
          <p:cNvPr id="4" name="Content Placeholder 3">
            <a:extLst>
              <a:ext uri="{FF2B5EF4-FFF2-40B4-BE49-F238E27FC236}">
                <a16:creationId xmlns:a16="http://schemas.microsoft.com/office/drawing/2014/main" id="{80A0135C-AEE3-4382-AA63-FAD3C012E71E}"/>
              </a:ext>
            </a:extLst>
          </p:cNvPr>
          <p:cNvGraphicFramePr>
            <a:graphicFrameLocks noGrp="1"/>
          </p:cNvGraphicFramePr>
          <p:nvPr>
            <p:ph idx="1"/>
            <p:extLst>
              <p:ext uri="{D42A27DB-BD31-4B8C-83A1-F6EECF244321}">
                <p14:modId xmlns:p14="http://schemas.microsoft.com/office/powerpoint/2010/main" val="3403472488"/>
              </p:ext>
            </p:extLst>
          </p:nvPr>
        </p:nvGraphicFramePr>
        <p:xfrm>
          <a:off x="1096963" y="2108199"/>
          <a:ext cx="9574280" cy="416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2926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705EBA5-DC07-47E1-A4C5-9E14D6D557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5705EBA5-DC07-47E1-A4C5-9E14D6D557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A1F556B-EBA8-4A1B-85D7-4D3E2402C1A8}"/>
              </a:ext>
            </a:extLst>
          </p:cNvPr>
          <p:cNvSpPr/>
          <p:nvPr/>
        </p:nvSpPr>
        <p:spPr>
          <a:xfrm flipV="1">
            <a:off x="0" y="132727"/>
            <a:ext cx="12192000" cy="3874360"/>
          </a:xfrm>
          <a:prstGeom prst="rect">
            <a:avLst/>
          </a:prstGeom>
          <a:solidFill>
            <a:srgbClr val="293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223">
            <a:extLst>
              <a:ext uri="{FF2B5EF4-FFF2-40B4-BE49-F238E27FC236}">
                <a16:creationId xmlns:a16="http://schemas.microsoft.com/office/drawing/2014/main" id="{F9EAD4F9-5003-4F2D-A53C-A9B7BA92D4BD}"/>
              </a:ext>
            </a:extLst>
          </p:cNvPr>
          <p:cNvSpPr/>
          <p:nvPr/>
        </p:nvSpPr>
        <p:spPr>
          <a:xfrm rot="13500000" flipV="1">
            <a:off x="-232583" y="3099624"/>
            <a:ext cx="1084717" cy="91764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3" name="Freeform 223">
            <a:extLst>
              <a:ext uri="{FF2B5EF4-FFF2-40B4-BE49-F238E27FC236}">
                <a16:creationId xmlns:a16="http://schemas.microsoft.com/office/drawing/2014/main" id="{1509EC63-FE5A-48E6-BA6C-5D625A76DABB}"/>
              </a:ext>
            </a:extLst>
          </p:cNvPr>
          <p:cNvSpPr/>
          <p:nvPr/>
        </p:nvSpPr>
        <p:spPr>
          <a:xfrm rot="2700000" flipH="1" flipV="1">
            <a:off x="8828813" y="-539427"/>
            <a:ext cx="4226787" cy="357577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Rectangle: Rounded Corners 17">
            <a:extLst>
              <a:ext uri="{FF2B5EF4-FFF2-40B4-BE49-F238E27FC236}">
                <a16:creationId xmlns:a16="http://schemas.microsoft.com/office/drawing/2014/main" id="{371B5FA1-BA55-430C-BD5C-408922A269EE}"/>
              </a:ext>
            </a:extLst>
          </p:cNvPr>
          <p:cNvSpPr/>
          <p:nvPr/>
        </p:nvSpPr>
        <p:spPr>
          <a:xfrm>
            <a:off x="353786" y="2777521"/>
            <a:ext cx="11484429" cy="1992383"/>
          </a:xfrm>
          <a:prstGeom prst="roundRect">
            <a:avLst>
              <a:gd name="adj" fmla="val 50000"/>
            </a:avLst>
          </a:prstGeom>
          <a:solidFill>
            <a:schemeClr val="bg1">
              <a:lumMod val="95000"/>
            </a:schemeClr>
          </a:solidFill>
          <a:ln>
            <a:noFill/>
          </a:ln>
          <a:effectLst>
            <a:outerShdw dist="127000" dir="2700000" algn="tl"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6D3049-2D46-4BE5-A04C-5E982638847D}"/>
              </a:ext>
            </a:extLst>
          </p:cNvPr>
          <p:cNvSpPr>
            <a:spLocks noGrp="1"/>
          </p:cNvSpPr>
          <p:nvPr>
            <p:ph type="title"/>
          </p:nvPr>
        </p:nvSpPr>
        <p:spPr>
          <a:xfrm>
            <a:off x="4132834" y="24073"/>
            <a:ext cx="3120243" cy="732518"/>
          </a:xfrm>
        </p:spPr>
        <p:txBody>
          <a:bodyPr vert="horz">
            <a:normAutofit fontScale="90000"/>
          </a:bodyPr>
          <a:lstStyle/>
          <a:p>
            <a:r>
              <a:rPr lang="en-US" dirty="0">
                <a:solidFill>
                  <a:schemeClr val="bg1"/>
                </a:solidFill>
              </a:rPr>
              <a:t>Key points </a:t>
            </a:r>
          </a:p>
        </p:txBody>
      </p:sp>
      <p:sp>
        <p:nvSpPr>
          <p:cNvPr id="4" name="Slide Number Placeholder 3">
            <a:extLst>
              <a:ext uri="{FF2B5EF4-FFF2-40B4-BE49-F238E27FC236}">
                <a16:creationId xmlns:a16="http://schemas.microsoft.com/office/drawing/2014/main" id="{7E6875DB-C303-4BA4-8EEB-2FEB0ACB8DC1}"/>
              </a:ext>
            </a:extLst>
          </p:cNvPr>
          <p:cNvSpPr>
            <a:spLocks noGrp="1"/>
          </p:cNvSpPr>
          <p:nvPr>
            <p:ph type="sldNum" sz="quarter" idx="12"/>
          </p:nvPr>
        </p:nvSpPr>
        <p:spPr/>
        <p:txBody>
          <a:bodyPr/>
          <a:lstStyle/>
          <a:p>
            <a:fld id="{7476E806-B426-4043-B850-C90DEF4A2F9F}" type="slidenum">
              <a:rPr lang="en-US" smtClean="0"/>
              <a:t>21</a:t>
            </a:fld>
            <a:endParaRPr lang="en-US"/>
          </a:p>
        </p:txBody>
      </p:sp>
      <p:sp>
        <p:nvSpPr>
          <p:cNvPr id="6" name="Oval 24">
            <a:extLst>
              <a:ext uri="{FF2B5EF4-FFF2-40B4-BE49-F238E27FC236}">
                <a16:creationId xmlns:a16="http://schemas.microsoft.com/office/drawing/2014/main" id="{E24567D6-C6E1-4AC1-AD1D-4608C350CCC7}"/>
              </a:ext>
            </a:extLst>
          </p:cNvPr>
          <p:cNvSpPr>
            <a:spLocks noChangeArrowheads="1"/>
          </p:cNvSpPr>
          <p:nvPr/>
        </p:nvSpPr>
        <p:spPr bwMode="auto">
          <a:xfrm>
            <a:off x="1170432"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7" name="Oval 24">
            <a:extLst>
              <a:ext uri="{FF2B5EF4-FFF2-40B4-BE49-F238E27FC236}">
                <a16:creationId xmlns:a16="http://schemas.microsoft.com/office/drawing/2014/main" id="{6E61A77E-418F-4D29-B579-DFF2529136F4}"/>
              </a:ext>
            </a:extLst>
          </p:cNvPr>
          <p:cNvSpPr>
            <a:spLocks noChangeArrowheads="1"/>
          </p:cNvSpPr>
          <p:nvPr/>
        </p:nvSpPr>
        <p:spPr bwMode="auto">
          <a:xfrm>
            <a:off x="2956303"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8" name="Oval 24">
            <a:extLst>
              <a:ext uri="{FF2B5EF4-FFF2-40B4-BE49-F238E27FC236}">
                <a16:creationId xmlns:a16="http://schemas.microsoft.com/office/drawing/2014/main" id="{B22F26B7-1C7E-4F34-9BF3-BC5E067F3EA5}"/>
              </a:ext>
            </a:extLst>
          </p:cNvPr>
          <p:cNvSpPr>
            <a:spLocks noChangeArrowheads="1"/>
          </p:cNvSpPr>
          <p:nvPr/>
        </p:nvSpPr>
        <p:spPr bwMode="auto">
          <a:xfrm>
            <a:off x="4746590"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13" name="Oval 24">
            <a:extLst>
              <a:ext uri="{FF2B5EF4-FFF2-40B4-BE49-F238E27FC236}">
                <a16:creationId xmlns:a16="http://schemas.microsoft.com/office/drawing/2014/main" id="{00A5D85E-4153-4A4A-824A-FF801610E934}"/>
              </a:ext>
            </a:extLst>
          </p:cNvPr>
          <p:cNvSpPr>
            <a:spLocks noChangeArrowheads="1"/>
          </p:cNvSpPr>
          <p:nvPr/>
        </p:nvSpPr>
        <p:spPr bwMode="auto">
          <a:xfrm>
            <a:off x="6545687"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14" name="Oval 24">
            <a:extLst>
              <a:ext uri="{FF2B5EF4-FFF2-40B4-BE49-F238E27FC236}">
                <a16:creationId xmlns:a16="http://schemas.microsoft.com/office/drawing/2014/main" id="{3EF0D2F8-4644-4BDA-9C74-D016E3F0E429}"/>
              </a:ext>
            </a:extLst>
          </p:cNvPr>
          <p:cNvSpPr>
            <a:spLocks noChangeArrowheads="1"/>
          </p:cNvSpPr>
          <p:nvPr/>
        </p:nvSpPr>
        <p:spPr bwMode="auto">
          <a:xfrm>
            <a:off x="8329395"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15" name="Oval 24">
            <a:extLst>
              <a:ext uri="{FF2B5EF4-FFF2-40B4-BE49-F238E27FC236}">
                <a16:creationId xmlns:a16="http://schemas.microsoft.com/office/drawing/2014/main" id="{D1396AAD-4B4A-4363-BEC0-53C9EBB0E75E}"/>
              </a:ext>
            </a:extLst>
          </p:cNvPr>
          <p:cNvSpPr>
            <a:spLocks noChangeArrowheads="1"/>
          </p:cNvSpPr>
          <p:nvPr/>
        </p:nvSpPr>
        <p:spPr bwMode="auto">
          <a:xfrm>
            <a:off x="10138702" y="3226117"/>
            <a:ext cx="1102924" cy="1099607"/>
          </a:xfrm>
          <a:prstGeom prst="ellipse">
            <a:avLst/>
          </a:prstGeom>
          <a:solidFill>
            <a:srgbClr val="293452"/>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0" name="Oval 24">
            <a:extLst>
              <a:ext uri="{FF2B5EF4-FFF2-40B4-BE49-F238E27FC236}">
                <a16:creationId xmlns:a16="http://schemas.microsoft.com/office/drawing/2014/main" id="{C0D1F0DB-0DF9-4FE8-875D-D86F47AEB75D}"/>
              </a:ext>
            </a:extLst>
          </p:cNvPr>
          <p:cNvSpPr>
            <a:spLocks noChangeArrowheads="1"/>
          </p:cNvSpPr>
          <p:nvPr/>
        </p:nvSpPr>
        <p:spPr bwMode="auto">
          <a:xfrm>
            <a:off x="1013874" y="3226117"/>
            <a:ext cx="1102924" cy="1099607"/>
          </a:xfrm>
          <a:prstGeom prst="ellipse">
            <a:avLst/>
          </a:prstGeom>
          <a:solidFill>
            <a:srgbClr val="6DD57E"/>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1" name="Oval 24">
            <a:extLst>
              <a:ext uri="{FF2B5EF4-FFF2-40B4-BE49-F238E27FC236}">
                <a16:creationId xmlns:a16="http://schemas.microsoft.com/office/drawing/2014/main" id="{3E42777D-C9DB-4C2A-96C8-7EDF17AD0BC1}"/>
              </a:ext>
            </a:extLst>
          </p:cNvPr>
          <p:cNvSpPr>
            <a:spLocks noChangeArrowheads="1"/>
          </p:cNvSpPr>
          <p:nvPr/>
        </p:nvSpPr>
        <p:spPr bwMode="auto">
          <a:xfrm>
            <a:off x="2799745" y="3226117"/>
            <a:ext cx="1102924" cy="1099607"/>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2" name="Oval 24">
            <a:extLst>
              <a:ext uri="{FF2B5EF4-FFF2-40B4-BE49-F238E27FC236}">
                <a16:creationId xmlns:a16="http://schemas.microsoft.com/office/drawing/2014/main" id="{7F4C49E0-5F56-4158-9FA9-26C452780C56}"/>
              </a:ext>
            </a:extLst>
          </p:cNvPr>
          <p:cNvSpPr>
            <a:spLocks noChangeArrowheads="1"/>
          </p:cNvSpPr>
          <p:nvPr/>
        </p:nvSpPr>
        <p:spPr bwMode="auto">
          <a:xfrm>
            <a:off x="4590032" y="3226117"/>
            <a:ext cx="1102924" cy="1099607"/>
          </a:xfrm>
          <a:prstGeom prst="ellipse">
            <a:avLst/>
          </a:prstGeom>
          <a:solidFill>
            <a:srgbClr val="6DD57E"/>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3" name="Oval 24">
            <a:extLst>
              <a:ext uri="{FF2B5EF4-FFF2-40B4-BE49-F238E27FC236}">
                <a16:creationId xmlns:a16="http://schemas.microsoft.com/office/drawing/2014/main" id="{227989CB-DF94-4D90-9E67-7B26BDD886E6}"/>
              </a:ext>
            </a:extLst>
          </p:cNvPr>
          <p:cNvSpPr>
            <a:spLocks noChangeArrowheads="1"/>
          </p:cNvSpPr>
          <p:nvPr/>
        </p:nvSpPr>
        <p:spPr bwMode="auto">
          <a:xfrm>
            <a:off x="6389129" y="3226117"/>
            <a:ext cx="1102924" cy="1099607"/>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4" name="Oval 24">
            <a:extLst>
              <a:ext uri="{FF2B5EF4-FFF2-40B4-BE49-F238E27FC236}">
                <a16:creationId xmlns:a16="http://schemas.microsoft.com/office/drawing/2014/main" id="{3CC11905-649A-4EF2-A593-893C86245D0A}"/>
              </a:ext>
            </a:extLst>
          </p:cNvPr>
          <p:cNvSpPr>
            <a:spLocks noChangeArrowheads="1"/>
          </p:cNvSpPr>
          <p:nvPr/>
        </p:nvSpPr>
        <p:spPr bwMode="auto">
          <a:xfrm>
            <a:off x="8172837" y="3226117"/>
            <a:ext cx="1102924" cy="1099607"/>
          </a:xfrm>
          <a:prstGeom prst="ellipse">
            <a:avLst/>
          </a:prstGeom>
          <a:solidFill>
            <a:srgbClr val="6DD57E"/>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sp>
        <p:nvSpPr>
          <p:cNvPr id="25" name="Oval 24">
            <a:extLst>
              <a:ext uri="{FF2B5EF4-FFF2-40B4-BE49-F238E27FC236}">
                <a16:creationId xmlns:a16="http://schemas.microsoft.com/office/drawing/2014/main" id="{E22F990A-B1F1-424C-83F5-8D4DE23C4316}"/>
              </a:ext>
            </a:extLst>
          </p:cNvPr>
          <p:cNvSpPr>
            <a:spLocks noChangeArrowheads="1"/>
          </p:cNvSpPr>
          <p:nvPr/>
        </p:nvSpPr>
        <p:spPr bwMode="auto">
          <a:xfrm>
            <a:off x="9982144" y="3226117"/>
            <a:ext cx="1102924" cy="1099607"/>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grpSp>
        <p:nvGrpSpPr>
          <p:cNvPr id="35" name="Group 34">
            <a:extLst>
              <a:ext uri="{FF2B5EF4-FFF2-40B4-BE49-F238E27FC236}">
                <a16:creationId xmlns:a16="http://schemas.microsoft.com/office/drawing/2014/main" id="{93CD409A-BABC-43DC-B228-2335EB7A6E71}"/>
              </a:ext>
            </a:extLst>
          </p:cNvPr>
          <p:cNvGrpSpPr/>
          <p:nvPr/>
        </p:nvGrpSpPr>
        <p:grpSpPr>
          <a:xfrm>
            <a:off x="1565336" y="2428786"/>
            <a:ext cx="7158963" cy="800100"/>
            <a:chOff x="1565336" y="2324100"/>
            <a:chExt cx="7158963" cy="800100"/>
          </a:xfrm>
        </p:grpSpPr>
        <p:cxnSp>
          <p:nvCxnSpPr>
            <p:cNvPr id="28" name="Straight Connector 27">
              <a:extLst>
                <a:ext uri="{FF2B5EF4-FFF2-40B4-BE49-F238E27FC236}">
                  <a16:creationId xmlns:a16="http://schemas.microsoft.com/office/drawing/2014/main" id="{0350CE5C-EEE6-4C1E-A691-344C9D7839CF}"/>
                </a:ext>
              </a:extLst>
            </p:cNvPr>
            <p:cNvCxnSpPr>
              <a:cxnSpLocks/>
              <a:endCxn id="20" idx="0"/>
            </p:cNvCxnSpPr>
            <p:nvPr/>
          </p:nvCxnSpPr>
          <p:spPr>
            <a:xfrm flipH="1">
              <a:off x="1565336" y="2428786"/>
              <a:ext cx="22164" cy="692645"/>
            </a:xfrm>
            <a:prstGeom prst="line">
              <a:avLst/>
            </a:prstGeom>
            <a:ln w="63500">
              <a:solidFill>
                <a:srgbClr val="6DD57E"/>
              </a:solidFill>
              <a:head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50539BC-47B3-4180-83BF-83E03C117FB8}"/>
                </a:ext>
              </a:extLst>
            </p:cNvPr>
            <p:cNvCxnSpPr>
              <a:cxnSpLocks/>
            </p:cNvCxnSpPr>
            <p:nvPr/>
          </p:nvCxnSpPr>
          <p:spPr>
            <a:xfrm>
              <a:off x="5141494" y="2324100"/>
              <a:ext cx="0" cy="800100"/>
            </a:xfrm>
            <a:prstGeom prst="line">
              <a:avLst/>
            </a:prstGeom>
            <a:ln w="63500">
              <a:solidFill>
                <a:srgbClr val="6DD57E"/>
              </a:solidFill>
              <a:head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AF73ADC-071F-406A-B3EB-9CE041D4D38C}"/>
                </a:ext>
              </a:extLst>
            </p:cNvPr>
            <p:cNvCxnSpPr>
              <a:cxnSpLocks/>
            </p:cNvCxnSpPr>
            <p:nvPr/>
          </p:nvCxnSpPr>
          <p:spPr>
            <a:xfrm>
              <a:off x="8724299" y="2324100"/>
              <a:ext cx="0" cy="800100"/>
            </a:xfrm>
            <a:prstGeom prst="line">
              <a:avLst/>
            </a:prstGeom>
            <a:ln w="63500">
              <a:solidFill>
                <a:srgbClr val="6DD57E"/>
              </a:solidFill>
              <a:headEnd type="ova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A809B7B8-8FEF-4F46-AF06-D7EABEAA8F4D}"/>
              </a:ext>
            </a:extLst>
          </p:cNvPr>
          <p:cNvGrpSpPr/>
          <p:nvPr/>
        </p:nvGrpSpPr>
        <p:grpSpPr>
          <a:xfrm>
            <a:off x="3351207" y="4318539"/>
            <a:ext cx="7182399" cy="800100"/>
            <a:chOff x="3351207" y="2324100"/>
            <a:chExt cx="7182399" cy="800100"/>
          </a:xfrm>
        </p:grpSpPr>
        <p:cxnSp>
          <p:nvCxnSpPr>
            <p:cNvPr id="29" name="Straight Connector 28">
              <a:extLst>
                <a:ext uri="{FF2B5EF4-FFF2-40B4-BE49-F238E27FC236}">
                  <a16:creationId xmlns:a16="http://schemas.microsoft.com/office/drawing/2014/main" id="{4206B225-1E1B-45AD-B6F9-2DEEF6BD7181}"/>
                </a:ext>
              </a:extLst>
            </p:cNvPr>
            <p:cNvCxnSpPr>
              <a:cxnSpLocks/>
            </p:cNvCxnSpPr>
            <p:nvPr/>
          </p:nvCxnSpPr>
          <p:spPr>
            <a:xfrm>
              <a:off x="3351207" y="2324100"/>
              <a:ext cx="0" cy="800100"/>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E6237C1-6DAA-4A7F-BC7A-4FDC8967D198}"/>
                </a:ext>
              </a:extLst>
            </p:cNvPr>
            <p:cNvCxnSpPr>
              <a:cxnSpLocks/>
            </p:cNvCxnSpPr>
            <p:nvPr/>
          </p:nvCxnSpPr>
          <p:spPr>
            <a:xfrm>
              <a:off x="6940591" y="2324100"/>
              <a:ext cx="0" cy="800100"/>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A1C3E1C-FBA3-4B75-871F-451B57F95775}"/>
                </a:ext>
              </a:extLst>
            </p:cNvPr>
            <p:cNvCxnSpPr>
              <a:cxnSpLocks/>
            </p:cNvCxnSpPr>
            <p:nvPr/>
          </p:nvCxnSpPr>
          <p:spPr>
            <a:xfrm>
              <a:off x="10533606" y="2324100"/>
              <a:ext cx="0" cy="800100"/>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9A6BF0C3-1DD4-4C71-810F-3138AD210072}"/>
              </a:ext>
            </a:extLst>
          </p:cNvPr>
          <p:cNvSpPr/>
          <p:nvPr/>
        </p:nvSpPr>
        <p:spPr>
          <a:xfrm>
            <a:off x="104774" y="812376"/>
            <a:ext cx="3309821" cy="2154436"/>
          </a:xfrm>
          <a:prstGeom prst="rect">
            <a:avLst/>
          </a:prstGeom>
        </p:spPr>
        <p:txBody>
          <a:bodyPr wrap="square" lIns="0" tIns="0" rIns="0" bIns="0" anchor="b" anchorCtr="0">
            <a:spAutoFit/>
          </a:bodyPr>
          <a:lstStyle/>
          <a:p>
            <a:pPr algn="ctr"/>
            <a:r>
              <a:rPr lang="en-IN" sz="2400" b="1" dirty="0">
                <a:solidFill>
                  <a:schemeClr val="bg1"/>
                </a:solidFill>
              </a:rPr>
              <a:t>NLP is a field of study that deals with </a:t>
            </a:r>
            <a:r>
              <a:rPr lang="en-US" sz="2400" b="1" dirty="0">
                <a:solidFill>
                  <a:schemeClr val="bg1"/>
                </a:solidFill>
              </a:rPr>
              <a:t>interactions between computers  and human languages</a:t>
            </a:r>
          </a:p>
          <a:p>
            <a:pPr algn="ctr"/>
            <a:r>
              <a:rPr lang="en-US" sz="2000" b="1" i="1" dirty="0">
                <a:solidFill>
                  <a:schemeClr val="bg1"/>
                </a:solidFill>
                <a:latin typeface="Segoe UI" panose="020B0502040204020203" pitchFamily="34" charset="0"/>
                <a:cs typeface="Segoe UI" panose="020B0502040204020203" pitchFamily="34" charset="0"/>
              </a:rPr>
              <a:t>, </a:t>
            </a:r>
          </a:p>
        </p:txBody>
      </p:sp>
      <p:sp>
        <p:nvSpPr>
          <p:cNvPr id="46" name="Rectangle 45">
            <a:extLst>
              <a:ext uri="{FF2B5EF4-FFF2-40B4-BE49-F238E27FC236}">
                <a16:creationId xmlns:a16="http://schemas.microsoft.com/office/drawing/2014/main" id="{AFC6790D-5C21-4CFE-B5FD-9D5E536B17B0}"/>
              </a:ext>
            </a:extLst>
          </p:cNvPr>
          <p:cNvSpPr/>
          <p:nvPr/>
        </p:nvSpPr>
        <p:spPr>
          <a:xfrm>
            <a:off x="3347476" y="963330"/>
            <a:ext cx="4301135" cy="1785104"/>
          </a:xfrm>
          <a:prstGeom prst="rect">
            <a:avLst/>
          </a:prstGeom>
        </p:spPr>
        <p:txBody>
          <a:bodyPr wrap="square" lIns="0" tIns="0" rIns="0" bIns="0" anchor="b" anchorCtr="0">
            <a:spAutoFit/>
          </a:bodyPr>
          <a:lstStyle/>
          <a:p>
            <a:pPr algn="ctr"/>
            <a:r>
              <a:rPr lang="en-US" sz="2400" b="1" dirty="0">
                <a:solidFill>
                  <a:schemeClr val="bg1"/>
                </a:solidFill>
              </a:rPr>
              <a:t>Extracts valuable insights from textual data and automating tasks related to language understanding and generation</a:t>
            </a:r>
          </a:p>
          <a:p>
            <a:pPr algn="ctr"/>
            <a:r>
              <a:rPr lang="en-US" sz="2000" b="1" i="1" dirty="0">
                <a:solidFill>
                  <a:schemeClr val="bg1"/>
                </a:solidFill>
                <a:latin typeface="Segoe UI" panose="020B0502040204020203" pitchFamily="34" charset="0"/>
                <a:cs typeface="Segoe UI" panose="020B0502040204020203" pitchFamily="34" charset="0"/>
              </a:rPr>
              <a:t>, </a:t>
            </a:r>
          </a:p>
        </p:txBody>
      </p:sp>
      <p:sp>
        <p:nvSpPr>
          <p:cNvPr id="47" name="Rectangle 46">
            <a:extLst>
              <a:ext uri="{FF2B5EF4-FFF2-40B4-BE49-F238E27FC236}">
                <a16:creationId xmlns:a16="http://schemas.microsoft.com/office/drawing/2014/main" id="{01C08C39-4953-4B36-A5E8-F1D1DCCA2DCE}"/>
              </a:ext>
            </a:extLst>
          </p:cNvPr>
          <p:cNvSpPr/>
          <p:nvPr/>
        </p:nvSpPr>
        <p:spPr>
          <a:xfrm>
            <a:off x="7788048" y="477973"/>
            <a:ext cx="4181101" cy="1846659"/>
          </a:xfrm>
          <a:prstGeom prst="rect">
            <a:avLst/>
          </a:prstGeom>
        </p:spPr>
        <p:txBody>
          <a:bodyPr wrap="square" lIns="0" tIns="0" rIns="0" bIns="0" anchor="b" anchorCtr="0">
            <a:spAutoFit/>
          </a:bodyPr>
          <a:lstStyle/>
          <a:p>
            <a:pPr algn="ctr"/>
            <a:r>
              <a:rPr lang="en-US" sz="2000" b="1" i="1" dirty="0">
                <a:solidFill>
                  <a:schemeClr val="bg1"/>
                </a:solidFill>
                <a:latin typeface="Segoe UI" panose="020B0502040204020203" pitchFamily="34" charset="0"/>
                <a:cs typeface="Segoe UI" panose="020B0502040204020203" pitchFamily="34" charset="0"/>
              </a:rPr>
              <a:t>NLP empowers business leaders with actionable insights, real-time intelligence, and enhanced decision-making capabilities, enabling them to navigate complex business environments </a:t>
            </a:r>
          </a:p>
        </p:txBody>
      </p:sp>
      <p:sp>
        <p:nvSpPr>
          <p:cNvPr id="48" name="Rectangle 47">
            <a:extLst>
              <a:ext uri="{FF2B5EF4-FFF2-40B4-BE49-F238E27FC236}">
                <a16:creationId xmlns:a16="http://schemas.microsoft.com/office/drawing/2014/main" id="{07148C5D-9BE3-45F2-AAC7-1B21459EB225}"/>
              </a:ext>
            </a:extLst>
          </p:cNvPr>
          <p:cNvSpPr/>
          <p:nvPr/>
        </p:nvSpPr>
        <p:spPr>
          <a:xfrm>
            <a:off x="104774" y="5168829"/>
            <a:ext cx="5762761" cy="923330"/>
          </a:xfrm>
          <a:prstGeom prst="rect">
            <a:avLst/>
          </a:prstGeom>
        </p:spPr>
        <p:txBody>
          <a:bodyPr wrap="square" lIns="0" tIns="0" rIns="0" bIns="0" anchor="t" anchorCtr="0">
            <a:spAutoFit/>
          </a:bodyPr>
          <a:lstStyle/>
          <a:p>
            <a:pPr algn="ctr"/>
            <a:r>
              <a:rPr lang="en-US" sz="2000" b="1" i="1" dirty="0">
                <a:latin typeface="Segoe UI" panose="020B0502040204020203" pitchFamily="34" charset="0"/>
                <a:cs typeface="Segoe UI" panose="020B0502040204020203" pitchFamily="34" charset="0"/>
              </a:rPr>
              <a:t>NLP enhances operational efficiency, customer satisfaction, and competitive advantage for businesses across various industries </a:t>
            </a:r>
          </a:p>
        </p:txBody>
      </p:sp>
      <p:sp>
        <p:nvSpPr>
          <p:cNvPr id="49" name="Rectangle 48">
            <a:extLst>
              <a:ext uri="{FF2B5EF4-FFF2-40B4-BE49-F238E27FC236}">
                <a16:creationId xmlns:a16="http://schemas.microsoft.com/office/drawing/2014/main" id="{F72C69C7-ED3F-41F5-A928-3A56597850F1}"/>
              </a:ext>
            </a:extLst>
          </p:cNvPr>
          <p:cNvSpPr/>
          <p:nvPr/>
        </p:nvSpPr>
        <p:spPr>
          <a:xfrm>
            <a:off x="6324466" y="4946344"/>
            <a:ext cx="5762760" cy="1538883"/>
          </a:xfrm>
          <a:prstGeom prst="rect">
            <a:avLst/>
          </a:prstGeom>
        </p:spPr>
        <p:txBody>
          <a:bodyPr wrap="square" lIns="0" tIns="0" rIns="0" bIns="0" anchor="t" anchorCtr="0">
            <a:spAutoFit/>
          </a:bodyPr>
          <a:lstStyle/>
          <a:p>
            <a:pPr algn="ctr"/>
            <a:r>
              <a:rPr lang="en-US" sz="2000" b="1" i="1" dirty="0">
                <a:latin typeface="Segoe UI" panose="020B0502040204020203" pitchFamily="34" charset="0"/>
                <a:cs typeface="Segoe UI" panose="020B0502040204020203" pitchFamily="34" charset="0"/>
              </a:rPr>
              <a:t>By leveraging NLP technologies effectively, businesses can optimize their budget allocation, reduce operational costs, and improve overall financial performance</a:t>
            </a:r>
          </a:p>
          <a:p>
            <a:pPr algn="ctr"/>
            <a:r>
              <a:rPr lang="en-US" sz="2000" b="1" i="1" dirty="0">
                <a:latin typeface="Segoe UI" panose="020B0502040204020203" pitchFamily="34" charset="0"/>
                <a:cs typeface="Segoe UI" panose="020B0502040204020203" pitchFamily="34" charset="0"/>
              </a:rPr>
              <a:t>, </a:t>
            </a:r>
          </a:p>
        </p:txBody>
      </p:sp>
      <p:grpSp>
        <p:nvGrpSpPr>
          <p:cNvPr id="51" name="Group 50">
            <a:extLst>
              <a:ext uri="{FF2B5EF4-FFF2-40B4-BE49-F238E27FC236}">
                <a16:creationId xmlns:a16="http://schemas.microsoft.com/office/drawing/2014/main" id="{0D858BE7-44BC-465C-86F4-BB1F51B7EF26}"/>
              </a:ext>
            </a:extLst>
          </p:cNvPr>
          <p:cNvGrpSpPr/>
          <p:nvPr/>
        </p:nvGrpSpPr>
        <p:grpSpPr>
          <a:xfrm>
            <a:off x="1325515" y="3535042"/>
            <a:ext cx="479642" cy="481757"/>
            <a:chOff x="5554663" y="3971925"/>
            <a:chExt cx="360362" cy="361951"/>
          </a:xfrm>
          <a:solidFill>
            <a:schemeClr val="bg1"/>
          </a:solidFill>
          <a:effectLst>
            <a:outerShdw blurRad="50800" dist="38100" dir="2700000" algn="tl" rotWithShape="0">
              <a:prstClr val="black">
                <a:alpha val="40000"/>
              </a:prstClr>
            </a:outerShdw>
          </a:effectLst>
        </p:grpSpPr>
        <p:sp>
          <p:nvSpPr>
            <p:cNvPr id="52" name="Freeform 27">
              <a:extLst>
                <a:ext uri="{FF2B5EF4-FFF2-40B4-BE49-F238E27FC236}">
                  <a16:creationId xmlns:a16="http://schemas.microsoft.com/office/drawing/2014/main" id="{E4646E46-8681-49A5-A330-FD7414321877}"/>
                </a:ext>
              </a:extLst>
            </p:cNvPr>
            <p:cNvSpPr>
              <a:spLocks noEditPoints="1"/>
            </p:cNvSpPr>
            <p:nvPr/>
          </p:nvSpPr>
          <p:spPr bwMode="auto">
            <a:xfrm>
              <a:off x="5554663" y="40782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28">
              <a:extLst>
                <a:ext uri="{FF2B5EF4-FFF2-40B4-BE49-F238E27FC236}">
                  <a16:creationId xmlns:a16="http://schemas.microsoft.com/office/drawing/2014/main" id="{F4E54111-9D97-41A5-A0D0-DD04888AF7A8}"/>
                </a:ext>
              </a:extLst>
            </p:cNvPr>
            <p:cNvSpPr>
              <a:spLocks noEditPoints="1"/>
            </p:cNvSpPr>
            <p:nvPr/>
          </p:nvSpPr>
          <p:spPr bwMode="auto">
            <a:xfrm>
              <a:off x="5765800" y="39719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4" name="Group 53">
            <a:extLst>
              <a:ext uri="{FF2B5EF4-FFF2-40B4-BE49-F238E27FC236}">
                <a16:creationId xmlns:a16="http://schemas.microsoft.com/office/drawing/2014/main" id="{DDF88766-9539-4803-B6A7-39261423DB38}"/>
              </a:ext>
            </a:extLst>
          </p:cNvPr>
          <p:cNvGrpSpPr/>
          <p:nvPr/>
        </p:nvGrpSpPr>
        <p:grpSpPr>
          <a:xfrm>
            <a:off x="4901673" y="3535042"/>
            <a:ext cx="479643" cy="481757"/>
            <a:chOff x="7718425" y="3248025"/>
            <a:chExt cx="360363" cy="361951"/>
          </a:xfrm>
          <a:solidFill>
            <a:schemeClr val="bg1"/>
          </a:solidFill>
          <a:effectLst>
            <a:outerShdw blurRad="50800" dist="38100" dir="2700000" algn="tl" rotWithShape="0">
              <a:prstClr val="black">
                <a:alpha val="40000"/>
              </a:prstClr>
            </a:outerShdw>
          </a:effectLst>
        </p:grpSpPr>
        <p:sp>
          <p:nvSpPr>
            <p:cNvPr id="55" name="Freeform 63">
              <a:extLst>
                <a:ext uri="{FF2B5EF4-FFF2-40B4-BE49-F238E27FC236}">
                  <a16:creationId xmlns:a16="http://schemas.microsoft.com/office/drawing/2014/main" id="{4A4E6E30-AC1D-43F6-9C75-775A1EE33716}"/>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64">
              <a:extLst>
                <a:ext uri="{FF2B5EF4-FFF2-40B4-BE49-F238E27FC236}">
                  <a16:creationId xmlns:a16="http://schemas.microsoft.com/office/drawing/2014/main" id="{FCAE2C6F-66A8-4840-914F-73EDDC7BD051}"/>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65">
              <a:extLst>
                <a:ext uri="{FF2B5EF4-FFF2-40B4-BE49-F238E27FC236}">
                  <a16:creationId xmlns:a16="http://schemas.microsoft.com/office/drawing/2014/main" id="{C98BBC2A-31D4-43B3-BBD9-460630B5DC61}"/>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Freeform 66">
              <a:extLst>
                <a:ext uri="{FF2B5EF4-FFF2-40B4-BE49-F238E27FC236}">
                  <a16:creationId xmlns:a16="http://schemas.microsoft.com/office/drawing/2014/main" id="{1AA02B41-4A4B-4462-8F64-B17D63FF8DE5}"/>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A4B5D72F-3540-49E7-844C-BE645397B009}"/>
              </a:ext>
            </a:extLst>
          </p:cNvPr>
          <p:cNvGrpSpPr/>
          <p:nvPr/>
        </p:nvGrpSpPr>
        <p:grpSpPr>
          <a:xfrm>
            <a:off x="8484478" y="3635408"/>
            <a:ext cx="479643" cy="281025"/>
            <a:chOff x="4113213" y="4046538"/>
            <a:chExt cx="360363" cy="211138"/>
          </a:xfrm>
          <a:solidFill>
            <a:schemeClr val="bg1"/>
          </a:solidFill>
          <a:effectLst>
            <a:outerShdw blurRad="50800" dist="38100" dir="2700000" algn="tl" rotWithShape="0">
              <a:prstClr val="black">
                <a:alpha val="40000"/>
              </a:prstClr>
            </a:outerShdw>
          </a:effectLst>
        </p:grpSpPr>
        <p:sp>
          <p:nvSpPr>
            <p:cNvPr id="60" name="Freeform 84">
              <a:extLst>
                <a:ext uri="{FF2B5EF4-FFF2-40B4-BE49-F238E27FC236}">
                  <a16:creationId xmlns:a16="http://schemas.microsoft.com/office/drawing/2014/main" id="{57A6C5B1-8F30-4052-B8C7-DF611AB27010}"/>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85">
              <a:extLst>
                <a:ext uri="{FF2B5EF4-FFF2-40B4-BE49-F238E27FC236}">
                  <a16:creationId xmlns:a16="http://schemas.microsoft.com/office/drawing/2014/main" id="{880A3B00-8829-4C84-B5C8-44F1DCF16564}"/>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2" name="Group 61">
            <a:extLst>
              <a:ext uri="{FF2B5EF4-FFF2-40B4-BE49-F238E27FC236}">
                <a16:creationId xmlns:a16="http://schemas.microsoft.com/office/drawing/2014/main" id="{1B87DA79-9229-4990-898E-5BDCB4A30FFC}"/>
              </a:ext>
            </a:extLst>
          </p:cNvPr>
          <p:cNvGrpSpPr/>
          <p:nvPr/>
        </p:nvGrpSpPr>
        <p:grpSpPr>
          <a:xfrm>
            <a:off x="3133572" y="3536099"/>
            <a:ext cx="435271" cy="479643"/>
            <a:chOff x="6291263" y="5054601"/>
            <a:chExt cx="327025" cy="360363"/>
          </a:xfrm>
          <a:solidFill>
            <a:schemeClr val="bg1"/>
          </a:solidFill>
          <a:effectLst>
            <a:outerShdw blurRad="50800" dist="38100" dir="2700000" algn="tl" rotWithShape="0">
              <a:prstClr val="black">
                <a:alpha val="40000"/>
              </a:prstClr>
            </a:outerShdw>
          </a:effectLst>
        </p:grpSpPr>
        <p:sp>
          <p:nvSpPr>
            <p:cNvPr id="63" name="Freeform 179">
              <a:extLst>
                <a:ext uri="{FF2B5EF4-FFF2-40B4-BE49-F238E27FC236}">
                  <a16:creationId xmlns:a16="http://schemas.microsoft.com/office/drawing/2014/main" id="{3FFDB558-61CA-4094-950A-5BAACC5B504E}"/>
                </a:ext>
              </a:extLst>
            </p:cNvPr>
            <p:cNvSpPr>
              <a:spLocks noEditPoints="1"/>
            </p:cNvSpPr>
            <p:nvPr/>
          </p:nvSpPr>
          <p:spPr bwMode="auto">
            <a:xfrm>
              <a:off x="6291263" y="5054601"/>
              <a:ext cx="327025" cy="360363"/>
            </a:xfrm>
            <a:custGeom>
              <a:avLst/>
              <a:gdLst>
                <a:gd name="T0" fmla="*/ 81 w 87"/>
                <a:gd name="T1" fmla="*/ 39 h 96"/>
                <a:gd name="T2" fmla="*/ 78 w 87"/>
                <a:gd name="T3" fmla="*/ 34 h 96"/>
                <a:gd name="T4" fmla="*/ 40 w 87"/>
                <a:gd name="T5" fmla="*/ 0 h 96"/>
                <a:gd name="T6" fmla="*/ 0 w 87"/>
                <a:gd name="T7" fmla="*/ 40 h 96"/>
                <a:gd name="T8" fmla="*/ 16 w 87"/>
                <a:gd name="T9" fmla="*/ 72 h 96"/>
                <a:gd name="T10" fmla="*/ 16 w 87"/>
                <a:gd name="T11" fmla="*/ 94 h 96"/>
                <a:gd name="T12" fmla="*/ 18 w 87"/>
                <a:gd name="T13" fmla="*/ 96 h 96"/>
                <a:gd name="T14" fmla="*/ 58 w 87"/>
                <a:gd name="T15" fmla="*/ 96 h 96"/>
                <a:gd name="T16" fmla="*/ 60 w 87"/>
                <a:gd name="T17" fmla="*/ 94 h 96"/>
                <a:gd name="T18" fmla="*/ 60 w 87"/>
                <a:gd name="T19" fmla="*/ 82 h 96"/>
                <a:gd name="T20" fmla="*/ 74 w 87"/>
                <a:gd name="T21" fmla="*/ 78 h 96"/>
                <a:gd name="T22" fmla="*/ 78 w 87"/>
                <a:gd name="T23" fmla="*/ 60 h 96"/>
                <a:gd name="T24" fmla="*/ 82 w 87"/>
                <a:gd name="T25" fmla="*/ 60 h 96"/>
                <a:gd name="T26" fmla="*/ 86 w 87"/>
                <a:gd name="T27" fmla="*/ 58 h 96"/>
                <a:gd name="T28" fmla="*/ 87 w 87"/>
                <a:gd name="T29" fmla="*/ 55 h 96"/>
                <a:gd name="T30" fmla="*/ 87 w 87"/>
                <a:gd name="T31" fmla="*/ 54 h 96"/>
                <a:gd name="T32" fmla="*/ 81 w 87"/>
                <a:gd name="T33" fmla="*/ 39 h 96"/>
                <a:gd name="T34" fmla="*/ 64 w 87"/>
                <a:gd name="T35" fmla="*/ 62 h 96"/>
                <a:gd name="T36" fmla="*/ 62 w 87"/>
                <a:gd name="T37" fmla="*/ 64 h 96"/>
                <a:gd name="T38" fmla="*/ 22 w 87"/>
                <a:gd name="T39" fmla="*/ 64 h 96"/>
                <a:gd name="T40" fmla="*/ 20 w 87"/>
                <a:gd name="T41" fmla="*/ 62 h 96"/>
                <a:gd name="T42" fmla="*/ 20 w 87"/>
                <a:gd name="T43" fmla="*/ 22 h 96"/>
                <a:gd name="T44" fmla="*/ 22 w 87"/>
                <a:gd name="T45" fmla="*/ 20 h 96"/>
                <a:gd name="T46" fmla="*/ 62 w 87"/>
                <a:gd name="T47" fmla="*/ 20 h 96"/>
                <a:gd name="T48" fmla="*/ 64 w 87"/>
                <a:gd name="T49" fmla="*/ 22 h 96"/>
                <a:gd name="T50" fmla="*/ 64 w 87"/>
                <a:gd name="T51"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96">
                  <a:moveTo>
                    <a:pt x="81" y="39"/>
                  </a:moveTo>
                  <a:cubicBezTo>
                    <a:pt x="80" y="37"/>
                    <a:pt x="78" y="34"/>
                    <a:pt x="78" y="34"/>
                  </a:cubicBez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5" y="59"/>
                    <a:pt x="86" y="58"/>
                  </a:cubicBezTo>
                  <a:cubicBezTo>
                    <a:pt x="87" y="57"/>
                    <a:pt x="87" y="56"/>
                    <a:pt x="87" y="55"/>
                  </a:cubicBezTo>
                  <a:cubicBezTo>
                    <a:pt x="87" y="54"/>
                    <a:pt x="87" y="54"/>
                    <a:pt x="87" y="54"/>
                  </a:cubicBezTo>
                  <a:cubicBezTo>
                    <a:pt x="87" y="50"/>
                    <a:pt x="84" y="44"/>
                    <a:pt x="81" y="39"/>
                  </a:cubicBezTo>
                  <a:close/>
                  <a:moveTo>
                    <a:pt x="64" y="62"/>
                  </a:moveTo>
                  <a:cubicBezTo>
                    <a:pt x="64" y="63"/>
                    <a:pt x="63" y="64"/>
                    <a:pt x="62" y="64"/>
                  </a:cubicBezTo>
                  <a:cubicBezTo>
                    <a:pt x="22" y="64"/>
                    <a:pt x="22" y="64"/>
                    <a:pt x="22" y="64"/>
                  </a:cubicBezTo>
                  <a:cubicBezTo>
                    <a:pt x="21" y="64"/>
                    <a:pt x="20" y="63"/>
                    <a:pt x="20" y="62"/>
                  </a:cubicBezTo>
                  <a:cubicBezTo>
                    <a:pt x="20" y="22"/>
                    <a:pt x="20" y="22"/>
                    <a:pt x="20" y="22"/>
                  </a:cubicBezTo>
                  <a:cubicBezTo>
                    <a:pt x="20" y="21"/>
                    <a:pt x="21" y="20"/>
                    <a:pt x="22" y="20"/>
                  </a:cubicBezTo>
                  <a:cubicBezTo>
                    <a:pt x="62" y="20"/>
                    <a:pt x="62" y="20"/>
                    <a:pt x="62" y="20"/>
                  </a:cubicBezTo>
                  <a:cubicBezTo>
                    <a:pt x="63" y="20"/>
                    <a:pt x="64" y="21"/>
                    <a:pt x="64" y="22"/>
                  </a:cubicBezTo>
                  <a:lnTo>
                    <a:pt x="6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180">
              <a:extLst>
                <a:ext uri="{FF2B5EF4-FFF2-40B4-BE49-F238E27FC236}">
                  <a16:creationId xmlns:a16="http://schemas.microsoft.com/office/drawing/2014/main" id="{9ECE4ED5-415A-4388-8FFD-84FE7CEE67E9}"/>
                </a:ext>
              </a:extLst>
            </p:cNvPr>
            <p:cNvSpPr>
              <a:spLocks/>
            </p:cNvSpPr>
            <p:nvPr/>
          </p:nvSpPr>
          <p:spPr bwMode="auto">
            <a:xfrm>
              <a:off x="6426200" y="5159376"/>
              <a:ext cx="76200" cy="14288"/>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181">
              <a:extLst>
                <a:ext uri="{FF2B5EF4-FFF2-40B4-BE49-F238E27FC236}">
                  <a16:creationId xmlns:a16="http://schemas.microsoft.com/office/drawing/2014/main" id="{00A7E1D5-1F74-4821-99EB-1667C964E726}"/>
                </a:ext>
              </a:extLst>
            </p:cNvPr>
            <p:cNvSpPr>
              <a:spLocks/>
            </p:cNvSpPr>
            <p:nvPr/>
          </p:nvSpPr>
          <p:spPr bwMode="auto">
            <a:xfrm>
              <a:off x="6396038" y="5189538"/>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182">
              <a:extLst>
                <a:ext uri="{FF2B5EF4-FFF2-40B4-BE49-F238E27FC236}">
                  <a16:creationId xmlns:a16="http://schemas.microsoft.com/office/drawing/2014/main" id="{9FF508AD-687E-4EBD-B0A9-1BF4365BBA80}"/>
                </a:ext>
              </a:extLst>
            </p:cNvPr>
            <p:cNvSpPr>
              <a:spLocks/>
            </p:cNvSpPr>
            <p:nvPr/>
          </p:nvSpPr>
          <p:spPr bwMode="auto">
            <a:xfrm>
              <a:off x="6396038" y="5219701"/>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183">
              <a:extLst>
                <a:ext uri="{FF2B5EF4-FFF2-40B4-BE49-F238E27FC236}">
                  <a16:creationId xmlns:a16="http://schemas.microsoft.com/office/drawing/2014/main" id="{38CD988C-619F-4C23-BCDF-18AF286AAEE9}"/>
                </a:ext>
              </a:extLst>
            </p:cNvPr>
            <p:cNvSpPr>
              <a:spLocks/>
            </p:cNvSpPr>
            <p:nvPr/>
          </p:nvSpPr>
          <p:spPr bwMode="auto">
            <a:xfrm>
              <a:off x="6396038" y="5249863"/>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a:extLst>
              <a:ext uri="{FF2B5EF4-FFF2-40B4-BE49-F238E27FC236}">
                <a16:creationId xmlns:a16="http://schemas.microsoft.com/office/drawing/2014/main" id="{A485D41B-AA01-49AE-8A81-2F1FF27674E4}"/>
              </a:ext>
            </a:extLst>
          </p:cNvPr>
          <p:cNvGrpSpPr/>
          <p:nvPr/>
        </p:nvGrpSpPr>
        <p:grpSpPr>
          <a:xfrm>
            <a:off x="6700770" y="3533986"/>
            <a:ext cx="479643" cy="483868"/>
            <a:chOff x="4833938" y="3611563"/>
            <a:chExt cx="360363" cy="363537"/>
          </a:xfrm>
          <a:solidFill>
            <a:schemeClr val="bg1"/>
          </a:solidFill>
          <a:effectLst>
            <a:outerShdw blurRad="50800" dist="38100" dir="2700000" algn="tl" rotWithShape="0">
              <a:prstClr val="black">
                <a:alpha val="40000"/>
              </a:prstClr>
            </a:outerShdw>
          </a:effectLst>
        </p:grpSpPr>
        <p:sp>
          <p:nvSpPr>
            <p:cNvPr id="69" name="Freeform 45">
              <a:extLst>
                <a:ext uri="{FF2B5EF4-FFF2-40B4-BE49-F238E27FC236}">
                  <a16:creationId xmlns:a16="http://schemas.microsoft.com/office/drawing/2014/main" id="{5679CC0D-D382-4FA6-AA32-22989DC10EF7}"/>
                </a:ext>
              </a:extLst>
            </p:cNvPr>
            <p:cNvSpPr>
              <a:spLocks noEditPoints="1"/>
            </p:cNvSpPr>
            <p:nvPr/>
          </p:nvSpPr>
          <p:spPr bwMode="auto">
            <a:xfrm>
              <a:off x="4894263" y="3611563"/>
              <a:ext cx="300038" cy="284163"/>
            </a:xfrm>
            <a:custGeom>
              <a:avLst/>
              <a:gdLst>
                <a:gd name="T0" fmla="*/ 8 w 80"/>
                <a:gd name="T1" fmla="*/ 62 h 75"/>
                <a:gd name="T2" fmla="*/ 17 w 80"/>
                <a:gd name="T3" fmla="*/ 62 h 75"/>
                <a:gd name="T4" fmla="*/ 32 w 80"/>
                <a:gd name="T5" fmla="*/ 68 h 75"/>
                <a:gd name="T6" fmla="*/ 36 w 80"/>
                <a:gd name="T7" fmla="*/ 74 h 75"/>
                <a:gd name="T8" fmla="*/ 57 w 80"/>
                <a:gd name="T9" fmla="*/ 74 h 75"/>
                <a:gd name="T10" fmla="*/ 59 w 80"/>
                <a:gd name="T11" fmla="*/ 75 h 75"/>
                <a:gd name="T12" fmla="*/ 80 w 80"/>
                <a:gd name="T13" fmla="*/ 40 h 75"/>
                <a:gd name="T14" fmla="*/ 40 w 80"/>
                <a:gd name="T15" fmla="*/ 0 h 75"/>
                <a:gd name="T16" fmla="*/ 0 w 80"/>
                <a:gd name="T17" fmla="*/ 40 h 75"/>
                <a:gd name="T18" fmla="*/ 7 w 80"/>
                <a:gd name="T19" fmla="*/ 62 h 75"/>
                <a:gd name="T20" fmla="*/ 8 w 80"/>
                <a:gd name="T21" fmla="*/ 62 h 75"/>
                <a:gd name="T22" fmla="*/ 36 w 80"/>
                <a:gd name="T23" fmla="*/ 20 h 75"/>
                <a:gd name="T24" fmla="*/ 38 w 80"/>
                <a:gd name="T25" fmla="*/ 18 h 75"/>
                <a:gd name="T26" fmla="*/ 40 w 80"/>
                <a:gd name="T27" fmla="*/ 20 h 75"/>
                <a:gd name="T28" fmla="*/ 40 w 80"/>
                <a:gd name="T29" fmla="*/ 40 h 75"/>
                <a:gd name="T30" fmla="*/ 58 w 80"/>
                <a:gd name="T31" fmla="*/ 40 h 75"/>
                <a:gd name="T32" fmla="*/ 60 w 80"/>
                <a:gd name="T33" fmla="*/ 42 h 75"/>
                <a:gd name="T34" fmla="*/ 58 w 80"/>
                <a:gd name="T35" fmla="*/ 44 h 75"/>
                <a:gd name="T36" fmla="*/ 38 w 80"/>
                <a:gd name="T37" fmla="*/ 44 h 75"/>
                <a:gd name="T38" fmla="*/ 36 w 80"/>
                <a:gd name="T39" fmla="*/ 42 h 75"/>
                <a:gd name="T40" fmla="*/ 36 w 80"/>
                <a:gd name="T41" fmla="*/ 2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75">
                  <a:moveTo>
                    <a:pt x="8" y="62"/>
                  </a:moveTo>
                  <a:cubicBezTo>
                    <a:pt x="17" y="62"/>
                    <a:pt x="17" y="62"/>
                    <a:pt x="17" y="62"/>
                  </a:cubicBezTo>
                  <a:cubicBezTo>
                    <a:pt x="23" y="62"/>
                    <a:pt x="30" y="66"/>
                    <a:pt x="32" y="68"/>
                  </a:cubicBezTo>
                  <a:cubicBezTo>
                    <a:pt x="35" y="70"/>
                    <a:pt x="36" y="72"/>
                    <a:pt x="36" y="74"/>
                  </a:cubicBezTo>
                  <a:cubicBezTo>
                    <a:pt x="57" y="74"/>
                    <a:pt x="57" y="74"/>
                    <a:pt x="57" y="74"/>
                  </a:cubicBezTo>
                  <a:cubicBezTo>
                    <a:pt x="58" y="74"/>
                    <a:pt x="59" y="75"/>
                    <a:pt x="59" y="75"/>
                  </a:cubicBezTo>
                  <a:cubicBezTo>
                    <a:pt x="72" y="68"/>
                    <a:pt x="80" y="55"/>
                    <a:pt x="80" y="40"/>
                  </a:cubicBezTo>
                  <a:cubicBezTo>
                    <a:pt x="80" y="18"/>
                    <a:pt x="62" y="0"/>
                    <a:pt x="40" y="0"/>
                  </a:cubicBezTo>
                  <a:cubicBezTo>
                    <a:pt x="18" y="0"/>
                    <a:pt x="0" y="18"/>
                    <a:pt x="0" y="40"/>
                  </a:cubicBezTo>
                  <a:cubicBezTo>
                    <a:pt x="0" y="48"/>
                    <a:pt x="2" y="56"/>
                    <a:pt x="7" y="62"/>
                  </a:cubicBezTo>
                  <a:cubicBezTo>
                    <a:pt x="7" y="62"/>
                    <a:pt x="8" y="62"/>
                    <a:pt x="8" y="62"/>
                  </a:cubicBezTo>
                  <a:close/>
                  <a:moveTo>
                    <a:pt x="36" y="20"/>
                  </a:moveTo>
                  <a:cubicBezTo>
                    <a:pt x="36" y="19"/>
                    <a:pt x="37" y="18"/>
                    <a:pt x="38" y="18"/>
                  </a:cubicBezTo>
                  <a:cubicBezTo>
                    <a:pt x="39" y="18"/>
                    <a:pt x="40" y="19"/>
                    <a:pt x="40" y="20"/>
                  </a:cubicBezTo>
                  <a:cubicBezTo>
                    <a:pt x="40" y="40"/>
                    <a:pt x="40" y="40"/>
                    <a:pt x="40" y="40"/>
                  </a:cubicBezTo>
                  <a:cubicBezTo>
                    <a:pt x="58" y="40"/>
                    <a:pt x="58" y="40"/>
                    <a:pt x="58" y="40"/>
                  </a:cubicBezTo>
                  <a:cubicBezTo>
                    <a:pt x="59" y="40"/>
                    <a:pt x="60" y="41"/>
                    <a:pt x="60" y="42"/>
                  </a:cubicBezTo>
                  <a:cubicBezTo>
                    <a:pt x="60" y="43"/>
                    <a:pt x="59" y="44"/>
                    <a:pt x="58" y="44"/>
                  </a:cubicBezTo>
                  <a:cubicBezTo>
                    <a:pt x="38" y="44"/>
                    <a:pt x="38" y="44"/>
                    <a:pt x="38" y="44"/>
                  </a:cubicBezTo>
                  <a:cubicBezTo>
                    <a:pt x="37" y="44"/>
                    <a:pt x="36" y="43"/>
                    <a:pt x="36" y="42"/>
                  </a:cubicBez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46">
              <a:extLst>
                <a:ext uri="{FF2B5EF4-FFF2-40B4-BE49-F238E27FC236}">
                  <a16:creationId xmlns:a16="http://schemas.microsoft.com/office/drawing/2014/main" id="{3231CF70-D273-4F95-B649-BB7E868750D9}"/>
                </a:ext>
              </a:extLst>
            </p:cNvPr>
            <p:cNvSpPr>
              <a:spLocks/>
            </p:cNvSpPr>
            <p:nvPr/>
          </p:nvSpPr>
          <p:spPr bwMode="auto">
            <a:xfrm>
              <a:off x="4916488" y="3860800"/>
              <a:ext cx="247650"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Freeform 47">
              <a:extLst>
                <a:ext uri="{FF2B5EF4-FFF2-40B4-BE49-F238E27FC236}">
                  <a16:creationId xmlns:a16="http://schemas.microsoft.com/office/drawing/2014/main" id="{32DC9F46-32E9-45CD-9027-A2EA7F6284A0}"/>
                </a:ext>
              </a:extLst>
            </p:cNvPr>
            <p:cNvSpPr>
              <a:spLocks/>
            </p:cNvSpPr>
            <p:nvPr/>
          </p:nvSpPr>
          <p:spPr bwMode="auto">
            <a:xfrm>
              <a:off x="4833938" y="3854450"/>
              <a:ext cx="68263"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2" name="Freeform 17">
            <a:extLst>
              <a:ext uri="{FF2B5EF4-FFF2-40B4-BE49-F238E27FC236}">
                <a16:creationId xmlns:a16="http://schemas.microsoft.com/office/drawing/2014/main" id="{3FBAB520-7D96-4AC7-B9E8-CD8C0BE6B50F}"/>
              </a:ext>
            </a:extLst>
          </p:cNvPr>
          <p:cNvSpPr>
            <a:spLocks/>
          </p:cNvSpPr>
          <p:nvPr/>
        </p:nvSpPr>
        <p:spPr bwMode="auto">
          <a:xfrm>
            <a:off x="10293785" y="3568850"/>
            <a:ext cx="479643" cy="414141"/>
          </a:xfrm>
          <a:custGeom>
            <a:avLst/>
            <a:gdLst>
              <a:gd name="T0" fmla="*/ 95 w 96"/>
              <a:gd name="T1" fmla="*/ 15 h 82"/>
              <a:gd name="T2" fmla="*/ 81 w 96"/>
              <a:gd name="T3" fmla="*/ 1 h 82"/>
              <a:gd name="T4" fmla="*/ 79 w 96"/>
              <a:gd name="T5" fmla="*/ 1 h 82"/>
              <a:gd name="T6" fmla="*/ 30 w 96"/>
              <a:gd name="T7" fmla="*/ 49 h 82"/>
              <a:gd name="T8" fmla="*/ 17 w 96"/>
              <a:gd name="T9" fmla="*/ 37 h 82"/>
              <a:gd name="T10" fmla="*/ 15 w 96"/>
              <a:gd name="T11" fmla="*/ 37 h 82"/>
              <a:gd name="T12" fmla="*/ 1 w 96"/>
              <a:gd name="T13" fmla="*/ 51 h 82"/>
              <a:gd name="T14" fmla="*/ 1 w 96"/>
              <a:gd name="T15" fmla="*/ 53 h 82"/>
              <a:gd name="T16" fmla="*/ 29 w 96"/>
              <a:gd name="T17" fmla="*/ 81 h 82"/>
              <a:gd name="T18" fmla="*/ 30 w 96"/>
              <a:gd name="T19" fmla="*/ 82 h 82"/>
              <a:gd name="T20" fmla="*/ 31 w 96"/>
              <a:gd name="T21" fmla="*/ 81 h 82"/>
              <a:gd name="T22" fmla="*/ 95 w 96"/>
              <a:gd name="T23" fmla="*/ 17 h 82"/>
              <a:gd name="T24" fmla="*/ 95 w 96"/>
              <a:gd name="T25" fmla="*/ 1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82">
                <a:moveTo>
                  <a:pt x="95" y="15"/>
                </a:moveTo>
                <a:cubicBezTo>
                  <a:pt x="81" y="1"/>
                  <a:pt x="81" y="1"/>
                  <a:pt x="81" y="1"/>
                </a:cubicBezTo>
                <a:cubicBezTo>
                  <a:pt x="81" y="0"/>
                  <a:pt x="79" y="0"/>
                  <a:pt x="79" y="1"/>
                </a:cubicBezTo>
                <a:cubicBezTo>
                  <a:pt x="30" y="49"/>
                  <a:pt x="30" y="49"/>
                  <a:pt x="30" y="49"/>
                </a:cubicBezTo>
                <a:cubicBezTo>
                  <a:pt x="17" y="37"/>
                  <a:pt x="17" y="37"/>
                  <a:pt x="17" y="37"/>
                </a:cubicBezTo>
                <a:cubicBezTo>
                  <a:pt x="17" y="36"/>
                  <a:pt x="15" y="36"/>
                  <a:pt x="15" y="37"/>
                </a:cubicBezTo>
                <a:cubicBezTo>
                  <a:pt x="1" y="51"/>
                  <a:pt x="1" y="51"/>
                  <a:pt x="1" y="51"/>
                </a:cubicBezTo>
                <a:cubicBezTo>
                  <a:pt x="0" y="51"/>
                  <a:pt x="0" y="53"/>
                  <a:pt x="1" y="53"/>
                </a:cubicBezTo>
                <a:cubicBezTo>
                  <a:pt x="29" y="81"/>
                  <a:pt x="29" y="81"/>
                  <a:pt x="29" y="81"/>
                </a:cubicBezTo>
                <a:cubicBezTo>
                  <a:pt x="29" y="82"/>
                  <a:pt x="29" y="82"/>
                  <a:pt x="30" y="82"/>
                </a:cubicBezTo>
                <a:cubicBezTo>
                  <a:pt x="31" y="82"/>
                  <a:pt x="31" y="82"/>
                  <a:pt x="31" y="81"/>
                </a:cubicBezTo>
                <a:cubicBezTo>
                  <a:pt x="95" y="17"/>
                  <a:pt x="95" y="17"/>
                  <a:pt x="95" y="17"/>
                </a:cubicBezTo>
                <a:cubicBezTo>
                  <a:pt x="96" y="17"/>
                  <a:pt x="96" y="15"/>
                  <a:pt x="95" y="15"/>
                </a:cubicBezTo>
                <a:close/>
              </a:path>
            </a:pathLst>
          </a:custGeom>
          <a:solidFill>
            <a:schemeClr val="bg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21679863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BE7FF5-1B44-48D7-8A50-FE909C0A4615}"/>
              </a:ext>
            </a:extLst>
          </p:cNvPr>
          <p:cNvSpPr>
            <a:spLocks noGrp="1"/>
          </p:cNvSpPr>
          <p:nvPr>
            <p:ph type="sldNum" sz="quarter" idx="10"/>
          </p:nvPr>
        </p:nvSpPr>
        <p:spPr/>
        <p:txBody>
          <a:bodyPr/>
          <a:lstStyle/>
          <a:p>
            <a:pPr algn="r"/>
            <a:r>
              <a:rPr lang="en-ID" dirty="0"/>
              <a:t>0</a:t>
            </a:r>
            <a:fld id="{8BEBFD21-0730-494A-B9A8-7A1E682354E2}" type="slidenum">
              <a:rPr lang="en-ID" smtClean="0"/>
              <a:pPr algn="r"/>
              <a:t>22</a:t>
            </a:fld>
            <a:endParaRPr lang="en-ID" dirty="0"/>
          </a:p>
        </p:txBody>
      </p:sp>
      <p:sp>
        <p:nvSpPr>
          <p:cNvPr id="3" name="TextBox 2">
            <a:extLst>
              <a:ext uri="{FF2B5EF4-FFF2-40B4-BE49-F238E27FC236}">
                <a16:creationId xmlns:a16="http://schemas.microsoft.com/office/drawing/2014/main" id="{A0595AA7-3F43-4DB1-A7FE-0576A299A69D}"/>
              </a:ext>
            </a:extLst>
          </p:cNvPr>
          <p:cNvSpPr txBox="1"/>
          <p:nvPr/>
        </p:nvSpPr>
        <p:spPr>
          <a:xfrm>
            <a:off x="609600" y="530394"/>
            <a:ext cx="10972800" cy="1723549"/>
          </a:xfrm>
          <a:prstGeom prst="rect">
            <a:avLst/>
          </a:prstGeom>
          <a:noFill/>
        </p:spPr>
        <p:txBody>
          <a:bodyPr wrap="square" lIns="0" tIns="0" rIns="0" bIns="0" rtlCol="0">
            <a:spAutoFit/>
          </a:bodyPr>
          <a:lstStyle/>
          <a:p>
            <a:pPr algn="ctr"/>
            <a:r>
              <a:rPr lang="en-US" sz="4000" b="1" dirty="0">
                <a:solidFill>
                  <a:srgbClr val="001233"/>
                </a:solidFill>
                <a:latin typeface="Segoe UI" panose="020B0502040204020203" pitchFamily="34" charset="0"/>
                <a:cs typeface="Segoe UI" panose="020B0502040204020203" pitchFamily="34" charset="0"/>
              </a:rPr>
              <a:t>Diving Deep</a:t>
            </a:r>
          </a:p>
          <a:p>
            <a:r>
              <a:rPr lang="en-US" sz="4000" b="1" dirty="0">
                <a:solidFill>
                  <a:srgbClr val="001233"/>
                </a:solidFill>
                <a:latin typeface="Segoe UI" panose="020B0502040204020203" pitchFamily="34" charset="0"/>
                <a:cs typeface="Segoe UI" panose="020B0502040204020203" pitchFamily="34" charset="0"/>
              </a:rPr>
              <a:t> Upcoming Topics</a:t>
            </a:r>
            <a:br>
              <a:rPr lang="en-US" sz="4000" b="1" dirty="0">
                <a:solidFill>
                  <a:srgbClr val="001233"/>
                </a:solidFill>
                <a:latin typeface="Segoe UI" panose="020B0502040204020203" pitchFamily="34" charset="0"/>
                <a:cs typeface="Segoe UI" panose="020B0502040204020203" pitchFamily="34" charset="0"/>
              </a:rPr>
            </a:br>
            <a:r>
              <a:rPr lang="en-US" sz="3200" dirty="0">
                <a:solidFill>
                  <a:srgbClr val="0466C8"/>
                </a:solidFill>
                <a:latin typeface="Segoe UI Light" panose="020B0502040204020203" pitchFamily="34" charset="0"/>
                <a:cs typeface="Segoe UI Light" panose="020B0502040204020203" pitchFamily="34" charset="0"/>
              </a:rPr>
              <a:t> </a:t>
            </a:r>
          </a:p>
        </p:txBody>
      </p:sp>
      <p:sp>
        <p:nvSpPr>
          <p:cNvPr id="5" name="Rectangle 4">
            <a:extLst>
              <a:ext uri="{FF2B5EF4-FFF2-40B4-BE49-F238E27FC236}">
                <a16:creationId xmlns:a16="http://schemas.microsoft.com/office/drawing/2014/main" id="{26BBC640-8401-4A07-9BBC-C6C0E2AF77AD}"/>
              </a:ext>
            </a:extLst>
          </p:cNvPr>
          <p:cNvSpPr/>
          <p:nvPr/>
        </p:nvSpPr>
        <p:spPr>
          <a:xfrm>
            <a:off x="2028824"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a:spcBef>
                <a:spcPts val="2400"/>
              </a:spcBef>
            </a:pPr>
            <a:r>
              <a:rPr lang="en-US" sz="1600" b="1" dirty="0">
                <a:solidFill>
                  <a:schemeClr val="bg1"/>
                </a:solidFill>
                <a:latin typeface="Segoe UI" panose="020B0502040204020203" pitchFamily="34" charset="0"/>
                <a:ea typeface="Open Sans" charset="0"/>
                <a:cs typeface="Segoe UI" panose="020B0502040204020203" pitchFamily="34" charset="0"/>
              </a:rPr>
              <a:t>Knowledge Representation</a:t>
            </a:r>
          </a:p>
        </p:txBody>
      </p:sp>
      <p:sp>
        <p:nvSpPr>
          <p:cNvPr id="6" name="Rectangle 5">
            <a:extLst>
              <a:ext uri="{FF2B5EF4-FFF2-40B4-BE49-F238E27FC236}">
                <a16:creationId xmlns:a16="http://schemas.microsoft.com/office/drawing/2014/main" id="{92E53AFC-E979-4ACE-949C-AA5F18BBFFE3}"/>
              </a:ext>
            </a:extLst>
          </p:cNvPr>
          <p:cNvSpPr/>
          <p:nvPr/>
        </p:nvSpPr>
        <p:spPr>
          <a:xfrm>
            <a:off x="2321151"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5</a:t>
            </a:r>
          </a:p>
        </p:txBody>
      </p:sp>
      <p:sp>
        <p:nvSpPr>
          <p:cNvPr id="9" name="Rectangle 8">
            <a:extLst>
              <a:ext uri="{FF2B5EF4-FFF2-40B4-BE49-F238E27FC236}">
                <a16:creationId xmlns:a16="http://schemas.microsoft.com/office/drawing/2014/main" id="{58EF9E2A-2871-4BB5-B230-B0B546780378}"/>
              </a:ext>
            </a:extLst>
          </p:cNvPr>
          <p:cNvSpPr/>
          <p:nvPr/>
        </p:nvSpPr>
        <p:spPr>
          <a:xfrm>
            <a:off x="7163010"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lvl="0">
              <a:spcBef>
                <a:spcPts val="2400"/>
              </a:spcBef>
            </a:pPr>
            <a:r>
              <a:rPr lang="en-US" sz="1600" b="1" dirty="0">
                <a:solidFill>
                  <a:srgbClr val="FFFFFF">
                    <a:alpha val="70000"/>
                  </a:srgbClr>
                </a:solidFill>
                <a:latin typeface="Segoe UI" panose="020B0502040204020203" pitchFamily="34" charset="0"/>
                <a:cs typeface="Segoe UI" panose="020B0502040204020203" pitchFamily="34" charset="0"/>
              </a:rPr>
              <a:t>Distance Algorithms</a:t>
            </a:r>
          </a:p>
        </p:txBody>
      </p:sp>
      <p:sp>
        <p:nvSpPr>
          <p:cNvPr id="10" name="Rectangle 9">
            <a:extLst>
              <a:ext uri="{FF2B5EF4-FFF2-40B4-BE49-F238E27FC236}">
                <a16:creationId xmlns:a16="http://schemas.microsoft.com/office/drawing/2014/main" id="{FCF46712-D73F-42AF-A5A4-2AD913C73753}"/>
              </a:ext>
            </a:extLst>
          </p:cNvPr>
          <p:cNvSpPr/>
          <p:nvPr/>
        </p:nvSpPr>
        <p:spPr>
          <a:xfrm>
            <a:off x="7455337"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7</a:t>
            </a:r>
          </a:p>
        </p:txBody>
      </p:sp>
      <p:sp>
        <p:nvSpPr>
          <p:cNvPr id="13" name="Rectangle 12">
            <a:extLst>
              <a:ext uri="{FF2B5EF4-FFF2-40B4-BE49-F238E27FC236}">
                <a16:creationId xmlns:a16="http://schemas.microsoft.com/office/drawing/2014/main" id="{5216C0AE-7F1F-44A8-9482-C8F51DB21DCF}"/>
              </a:ext>
            </a:extLst>
          </p:cNvPr>
          <p:cNvSpPr/>
          <p:nvPr/>
        </p:nvSpPr>
        <p:spPr>
          <a:xfrm>
            <a:off x="9730104" y="3202938"/>
            <a:ext cx="2461896" cy="2851151"/>
          </a:xfrm>
          <a:prstGeom prst="rect">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324000" rIns="274320" bIns="365760" rtlCol="0" anchor="b" anchorCtr="0"/>
          <a:lstStyle/>
          <a:p>
            <a:pPr>
              <a:spcBef>
                <a:spcPts val="2400"/>
              </a:spcBef>
            </a:pPr>
            <a:r>
              <a:rPr lang="en-US" dirty="0">
                <a:solidFill>
                  <a:schemeClr val="bg1"/>
                </a:solidFill>
                <a:latin typeface="Segoe UI" panose="020B0502040204020203" pitchFamily="34" charset="0"/>
                <a:cs typeface="Segoe UI" panose="020B0502040204020203" pitchFamily="34" charset="0"/>
              </a:rPr>
              <a:t>Text Preprocessing with Python</a:t>
            </a:r>
          </a:p>
        </p:txBody>
      </p:sp>
      <p:sp>
        <p:nvSpPr>
          <p:cNvPr id="14" name="Rectangle 13">
            <a:extLst>
              <a:ext uri="{FF2B5EF4-FFF2-40B4-BE49-F238E27FC236}">
                <a16:creationId xmlns:a16="http://schemas.microsoft.com/office/drawing/2014/main" id="{2BB8CE65-8401-4EB3-B016-D8D73E1814F6}"/>
              </a:ext>
            </a:extLst>
          </p:cNvPr>
          <p:cNvSpPr/>
          <p:nvPr/>
        </p:nvSpPr>
        <p:spPr>
          <a:xfrm>
            <a:off x="10022431" y="3611391"/>
            <a:ext cx="647613" cy="769441"/>
          </a:xfrm>
          <a:prstGeom prst="rect">
            <a:avLst/>
          </a:prstGeom>
        </p:spPr>
        <p:txBody>
          <a:bodyPr wrap="none" lIns="0" rIns="0">
            <a:spAutoFit/>
          </a:bodyPr>
          <a:lstStyle/>
          <a:p>
            <a:pPr algn="ctr">
              <a:spcBef>
                <a:spcPts val="2400"/>
              </a:spcBef>
            </a:pPr>
            <a:r>
              <a:rPr lang="en-US" sz="4400" b="1" dirty="0">
                <a:solidFill>
                  <a:schemeClr val="bg1"/>
                </a:solidFill>
                <a:latin typeface="Segoe UI" panose="020B0502040204020203" pitchFamily="34" charset="0"/>
                <a:ea typeface="Open Sans" charset="0"/>
                <a:cs typeface="Segoe UI" panose="020B0502040204020203" pitchFamily="34" charset="0"/>
              </a:rPr>
              <a:t>08</a:t>
            </a:r>
          </a:p>
        </p:txBody>
      </p:sp>
      <p:sp>
        <p:nvSpPr>
          <p:cNvPr id="17" name="Rectangle 16">
            <a:extLst>
              <a:ext uri="{FF2B5EF4-FFF2-40B4-BE49-F238E27FC236}">
                <a16:creationId xmlns:a16="http://schemas.microsoft.com/office/drawing/2014/main" id="{652C4AB8-A587-42E3-837B-009E8F9F94DD}"/>
              </a:ext>
            </a:extLst>
          </p:cNvPr>
          <p:cNvSpPr/>
          <p:nvPr/>
        </p:nvSpPr>
        <p:spPr>
          <a:xfrm>
            <a:off x="4595917" y="2371726"/>
            <a:ext cx="2461896" cy="3682364"/>
          </a:xfrm>
          <a:prstGeom prst="rect">
            <a:avLst/>
          </a:prstGeom>
          <a:solidFill>
            <a:srgbClr val="0466C8"/>
          </a:solidFill>
          <a:ln>
            <a:noFill/>
          </a:ln>
          <a:effectLst>
            <a:outerShdw blurRad="762000" dist="254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828800" rIns="274320" bIns="0" rtlCol="0" anchor="t" anchorCtr="0"/>
          <a:lstStyle/>
          <a:p>
            <a:pPr lvl="0">
              <a:spcBef>
                <a:spcPts val="2400"/>
              </a:spcBef>
            </a:pPr>
            <a:r>
              <a:rPr lang="en-US" b="1" dirty="0">
                <a:solidFill>
                  <a:srgbClr val="FFFFFF">
                    <a:alpha val="70000"/>
                  </a:srgbClr>
                </a:solidFill>
                <a:latin typeface="Segoe UI" panose="020B0502040204020203" pitchFamily="34" charset="0"/>
                <a:cs typeface="Segoe UI" panose="020B0502040204020203" pitchFamily="34" charset="0"/>
              </a:rPr>
              <a:t>Evaluation Methods and Metrics</a:t>
            </a:r>
          </a:p>
          <a:p>
            <a:pPr lvl="0">
              <a:spcBef>
                <a:spcPts val="2400"/>
              </a:spcBef>
            </a:pPr>
            <a:endParaRPr lang="en-US" sz="1000" dirty="0">
              <a:solidFill>
                <a:srgbClr val="FFFFFF">
                  <a:alpha val="70000"/>
                </a:srgbClr>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4E3B0E2D-9A09-4B79-85BC-4AD4FAF0212B}"/>
              </a:ext>
            </a:extLst>
          </p:cNvPr>
          <p:cNvSpPr/>
          <p:nvPr/>
        </p:nvSpPr>
        <p:spPr>
          <a:xfrm>
            <a:off x="4885803" y="2949672"/>
            <a:ext cx="647613" cy="769441"/>
          </a:xfrm>
          <a:prstGeom prst="rect">
            <a:avLst/>
          </a:prstGeom>
        </p:spPr>
        <p:txBody>
          <a:bodyPr wrap="none" lIns="0" rIns="0">
            <a:spAutoFit/>
          </a:bodyPr>
          <a:lstStyle/>
          <a:p>
            <a:pPr algn="ctr">
              <a:spcBef>
                <a:spcPts val="2400"/>
              </a:spcBef>
            </a:pPr>
            <a:r>
              <a:rPr lang="en-US" sz="4400" b="1" dirty="0">
                <a:solidFill>
                  <a:srgbClr val="FFFFFF"/>
                </a:solidFill>
                <a:latin typeface="Segoe UI" panose="020B0502040204020203" pitchFamily="34" charset="0"/>
                <a:ea typeface="Open Sans" charset="0"/>
                <a:cs typeface="Segoe UI" panose="020B0502040204020203" pitchFamily="34" charset="0"/>
              </a:rPr>
              <a:t>06</a:t>
            </a:r>
          </a:p>
        </p:txBody>
      </p:sp>
      <p:pic>
        <p:nvPicPr>
          <p:cNvPr id="24" name="Graphic 23">
            <a:extLst>
              <a:ext uri="{FF2B5EF4-FFF2-40B4-BE49-F238E27FC236}">
                <a16:creationId xmlns:a16="http://schemas.microsoft.com/office/drawing/2014/main" id="{C7EAD0AF-129B-4D54-8114-C5C8049CD6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90699" y="2638523"/>
            <a:ext cx="391390" cy="358774"/>
          </a:xfrm>
          <a:prstGeom prst="rect">
            <a:avLst/>
          </a:prstGeom>
        </p:spPr>
      </p:pic>
    </p:spTree>
    <p:extLst>
      <p:ext uri="{BB962C8B-B14F-4D97-AF65-F5344CB8AC3E}">
        <p14:creationId xmlns:p14="http://schemas.microsoft.com/office/powerpoint/2010/main" val="2347054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02733-2A97-4030-925A-32F3023EBC3E}"/>
              </a:ext>
            </a:extLst>
          </p:cNvPr>
          <p:cNvSpPr>
            <a:spLocks noGrp="1"/>
          </p:cNvSpPr>
          <p:nvPr>
            <p:ph type="title"/>
          </p:nvPr>
        </p:nvSpPr>
        <p:spPr>
          <a:xfrm>
            <a:off x="1097280" y="286603"/>
            <a:ext cx="10058400" cy="702305"/>
          </a:xfrm>
        </p:spPr>
        <p:txBody>
          <a:bodyPr>
            <a:normAutofit fontScale="90000"/>
          </a:bodyPr>
          <a:lstStyle/>
          <a:p>
            <a:r>
              <a:rPr lang="en-IN" dirty="0"/>
              <a:t>Knowledge Representation</a:t>
            </a:r>
          </a:p>
        </p:txBody>
      </p:sp>
      <p:graphicFrame>
        <p:nvGraphicFramePr>
          <p:cNvPr id="9" name="Content Placeholder 8">
            <a:extLst>
              <a:ext uri="{FF2B5EF4-FFF2-40B4-BE49-F238E27FC236}">
                <a16:creationId xmlns:a16="http://schemas.microsoft.com/office/drawing/2014/main" id="{43A4D2CD-FB67-4CF1-9704-2771EF8B3A47}"/>
              </a:ext>
            </a:extLst>
          </p:cNvPr>
          <p:cNvGraphicFramePr>
            <a:graphicFrameLocks noGrp="1"/>
          </p:cNvGraphicFramePr>
          <p:nvPr>
            <p:ph idx="1"/>
            <p:extLst>
              <p:ext uri="{D42A27DB-BD31-4B8C-83A1-F6EECF244321}">
                <p14:modId xmlns:p14="http://schemas.microsoft.com/office/powerpoint/2010/main" val="2833358722"/>
              </p:ext>
            </p:extLst>
          </p:nvPr>
        </p:nvGraphicFramePr>
        <p:xfrm>
          <a:off x="1096963" y="1573161"/>
          <a:ext cx="10058400" cy="42958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6949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7808C-D473-426A-AEA1-CD6295B9A6A0}"/>
              </a:ext>
            </a:extLst>
          </p:cNvPr>
          <p:cNvSpPr>
            <a:spLocks noGrp="1"/>
          </p:cNvSpPr>
          <p:nvPr>
            <p:ph type="title"/>
          </p:nvPr>
        </p:nvSpPr>
        <p:spPr>
          <a:xfrm>
            <a:off x="196645" y="77821"/>
            <a:ext cx="10058400" cy="786581"/>
          </a:xfrm>
        </p:spPr>
        <p:txBody>
          <a:bodyPr/>
          <a:lstStyle/>
          <a:p>
            <a:r>
              <a:rPr lang="en-IN" dirty="0"/>
              <a:t>NLP Algorithms-1</a:t>
            </a:r>
          </a:p>
        </p:txBody>
      </p:sp>
      <p:sp>
        <p:nvSpPr>
          <p:cNvPr id="6" name="Content Placeholder 5">
            <a:extLst>
              <a:ext uri="{FF2B5EF4-FFF2-40B4-BE49-F238E27FC236}">
                <a16:creationId xmlns:a16="http://schemas.microsoft.com/office/drawing/2014/main" id="{06FDEC84-314A-4931-99E2-1440B915A1EB}"/>
              </a:ext>
            </a:extLst>
          </p:cNvPr>
          <p:cNvSpPr>
            <a:spLocks noGrp="1"/>
          </p:cNvSpPr>
          <p:nvPr>
            <p:ph idx="1"/>
          </p:nvPr>
        </p:nvSpPr>
        <p:spPr>
          <a:xfrm>
            <a:off x="196645" y="963562"/>
            <a:ext cx="11661058" cy="5299586"/>
          </a:xfrm>
        </p:spPr>
        <p:txBody>
          <a:bodyPr/>
          <a:lstStyle/>
          <a:p>
            <a:r>
              <a:rPr lang="en-IN" dirty="0"/>
              <a:t>The Minimum Edit Distance-</a:t>
            </a:r>
            <a:r>
              <a:rPr lang="en-IN" b="0" i="1" dirty="0" err="1"/>
              <a:t>Levenshtein</a:t>
            </a:r>
            <a:r>
              <a:rPr lang="en-IN" b="0" i="1" dirty="0"/>
              <a:t> distance:</a:t>
            </a:r>
            <a:r>
              <a:rPr lang="en-US" i="1" dirty="0"/>
              <a:t> A measure to determine </a:t>
            </a:r>
            <a:r>
              <a:rPr lang="en-US" b="0" i="1" dirty="0"/>
              <a:t>how dissimilar two strings (e.g., words) are to one another by counting the minimum number of operations required to transform one string into the other.</a:t>
            </a:r>
            <a:endParaRPr lang="en-IN" dirty="0"/>
          </a:p>
          <a:p>
            <a:r>
              <a:rPr lang="en-US" b="0" i="0" dirty="0">
                <a:solidFill>
                  <a:srgbClr val="626262"/>
                </a:solidFill>
                <a:effectLst/>
                <a:latin typeface="Segoe UI" panose="020B0502040204020203" pitchFamily="34" charset="0"/>
              </a:rPr>
              <a:t>minimum number of insert/delete/substitute operations required to transform str1 into str2</a:t>
            </a:r>
          </a:p>
          <a:p>
            <a:r>
              <a:rPr lang="en-US" dirty="0" err="1">
                <a:solidFill>
                  <a:srgbClr val="626262"/>
                </a:solidFill>
                <a:latin typeface="Segoe UI" panose="020B0502040204020203" pitchFamily="34" charset="0"/>
              </a:rPr>
              <a:t>E.g</a:t>
            </a:r>
            <a:r>
              <a:rPr lang="en-US" dirty="0">
                <a:solidFill>
                  <a:srgbClr val="626262"/>
                </a:solidFill>
                <a:latin typeface="Segoe UI" panose="020B0502040204020203" pitchFamily="34" charset="0"/>
              </a:rPr>
              <a:t> : str1=“ab”  str2 =“</a:t>
            </a:r>
            <a:r>
              <a:rPr lang="en-US" dirty="0" err="1">
                <a:solidFill>
                  <a:srgbClr val="626262"/>
                </a:solidFill>
                <a:latin typeface="Segoe UI" panose="020B0502040204020203" pitchFamily="34" charset="0"/>
              </a:rPr>
              <a:t>abc</a:t>
            </a:r>
            <a:r>
              <a:rPr lang="en-US" dirty="0">
                <a:solidFill>
                  <a:srgbClr val="626262"/>
                </a:solidFill>
                <a:latin typeface="Segoe UI" panose="020B0502040204020203" pitchFamily="34" charset="0"/>
              </a:rPr>
              <a:t>” </a:t>
            </a:r>
          </a:p>
          <a:p>
            <a:r>
              <a:rPr lang="en-US" dirty="0">
                <a:solidFill>
                  <a:srgbClr val="626262"/>
                </a:solidFill>
                <a:latin typeface="Segoe UI" panose="020B0502040204020203" pitchFamily="34" charset="0"/>
              </a:rPr>
              <a:t>To transform  str1 to str2  the char C needs to be inserted  in str1 therefore Edit Distance =1.</a:t>
            </a:r>
          </a:p>
          <a:p>
            <a:r>
              <a:rPr lang="en-US" dirty="0">
                <a:solidFill>
                  <a:srgbClr val="626262"/>
                </a:solidFill>
                <a:latin typeface="Segoe UI" panose="020B0502040204020203" pitchFamily="34" charset="0"/>
              </a:rPr>
              <a:t>To transform str2 to str1 the Char C needs to be deleted in str2 therefore Edit Distance=1</a:t>
            </a:r>
          </a:p>
          <a:p>
            <a:r>
              <a:rPr lang="en-US" dirty="0" err="1">
                <a:solidFill>
                  <a:srgbClr val="626262"/>
                </a:solidFill>
                <a:latin typeface="Segoe UI" panose="020B0502040204020203" pitchFamily="34" charset="0"/>
              </a:rPr>
              <a:t>E.g</a:t>
            </a:r>
            <a:r>
              <a:rPr lang="en-US" dirty="0">
                <a:solidFill>
                  <a:srgbClr val="626262"/>
                </a:solidFill>
                <a:latin typeface="Segoe UI" panose="020B0502040204020203" pitchFamily="34" charset="0"/>
              </a:rPr>
              <a:t> 2 str1 =“INTENTION” str2 =“EXCECUTION” Calculate Edit Distance</a:t>
            </a:r>
          </a:p>
          <a:p>
            <a:r>
              <a:rPr lang="en-US" dirty="0">
                <a:solidFill>
                  <a:srgbClr val="626262"/>
                </a:solidFill>
                <a:latin typeface="Segoe UI" panose="020B0502040204020203" pitchFamily="34" charset="0"/>
              </a:rPr>
              <a:t>                                                                                               Five Operations Required to transform str1 to 							str2 . </a:t>
            </a:r>
          </a:p>
          <a:p>
            <a:pPr lvl="8"/>
            <a:r>
              <a:rPr lang="en-US" dirty="0">
                <a:solidFill>
                  <a:srgbClr val="626262"/>
                </a:solidFill>
                <a:latin typeface="Segoe UI" panose="020B0502040204020203" pitchFamily="34" charset="0"/>
              </a:rPr>
              <a:t>                                                                                                 Edit Distance =5</a:t>
            </a:r>
          </a:p>
          <a:p>
            <a:pPr lvl="8"/>
            <a:endParaRPr lang="en-US" dirty="0">
              <a:solidFill>
                <a:srgbClr val="626262"/>
              </a:solidFill>
              <a:latin typeface="Segoe UI" panose="020B0502040204020203" pitchFamily="34" charset="0"/>
            </a:endParaRPr>
          </a:p>
          <a:p>
            <a:endParaRPr lang="en-US" dirty="0">
              <a:solidFill>
                <a:srgbClr val="626262"/>
              </a:solidFill>
              <a:latin typeface="Segoe UI" panose="020B0502040204020203" pitchFamily="34" charset="0"/>
            </a:endParaRPr>
          </a:p>
          <a:p>
            <a:pPr lvl="1"/>
            <a:endParaRPr lang="en-IN" dirty="0"/>
          </a:p>
        </p:txBody>
      </p:sp>
      <p:pic>
        <p:nvPicPr>
          <p:cNvPr id="8" name="Picture 7">
            <a:extLst>
              <a:ext uri="{FF2B5EF4-FFF2-40B4-BE49-F238E27FC236}">
                <a16:creationId xmlns:a16="http://schemas.microsoft.com/office/drawing/2014/main" id="{98CEFD4C-6F61-4F07-9221-DF9567E6A075}"/>
              </a:ext>
            </a:extLst>
          </p:cNvPr>
          <p:cNvPicPr>
            <a:picLocks noChangeAspect="1"/>
          </p:cNvPicPr>
          <p:nvPr/>
        </p:nvPicPr>
        <p:blipFill>
          <a:blip r:embed="rId2"/>
          <a:stretch>
            <a:fillRect/>
          </a:stretch>
        </p:blipFill>
        <p:spPr>
          <a:xfrm>
            <a:off x="774512" y="4165600"/>
            <a:ext cx="5504368" cy="2097548"/>
          </a:xfrm>
          <a:prstGeom prst="rect">
            <a:avLst/>
          </a:prstGeom>
        </p:spPr>
      </p:pic>
    </p:spTree>
    <p:extLst>
      <p:ext uri="{BB962C8B-B14F-4D97-AF65-F5344CB8AC3E}">
        <p14:creationId xmlns:p14="http://schemas.microsoft.com/office/powerpoint/2010/main" val="26621229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1E0967F0-6D12-4C1C-90F8-B660089539A3}"/>
              </a:ext>
            </a:extLst>
          </p:cNvPr>
          <p:cNvGrpSpPr/>
          <p:nvPr/>
        </p:nvGrpSpPr>
        <p:grpSpPr>
          <a:xfrm>
            <a:off x="-337931" y="950714"/>
            <a:ext cx="3933370" cy="2843590"/>
            <a:chOff x="-337931" y="950714"/>
            <a:chExt cx="3933370" cy="2843590"/>
          </a:xfrm>
        </p:grpSpPr>
        <p:sp>
          <p:nvSpPr>
            <p:cNvPr id="5" name="Ribbon: Tilted Up 4">
              <a:extLst>
                <a:ext uri="{FF2B5EF4-FFF2-40B4-BE49-F238E27FC236}">
                  <a16:creationId xmlns:a16="http://schemas.microsoft.com/office/drawing/2014/main" id="{B90052F9-4C8F-4745-9880-B7ECEB493F93}"/>
                </a:ext>
              </a:extLst>
            </p:cNvPr>
            <p:cNvSpPr/>
            <p:nvPr/>
          </p:nvSpPr>
          <p:spPr>
            <a:xfrm>
              <a:off x="-337931" y="950714"/>
              <a:ext cx="3628418" cy="1491017"/>
            </a:xfrm>
            <a:prstGeom prst="ribbon2">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b="1" i="0" dirty="0">
                  <a:solidFill>
                    <a:srgbClr val="292929"/>
                  </a:solidFill>
                  <a:effectLst/>
                  <a:latin typeface="Open Sans" panose="020B0606030504020204" pitchFamily="34" charset="0"/>
                </a:rPr>
                <a:t>similarity are measured in the range 0 to 1 [0,1]</a:t>
              </a:r>
              <a:endParaRPr lang="en-IN" dirty="0"/>
            </a:p>
          </p:txBody>
        </p:sp>
        <p:pic>
          <p:nvPicPr>
            <p:cNvPr id="7" name="Picture 6">
              <a:extLst>
                <a:ext uri="{FF2B5EF4-FFF2-40B4-BE49-F238E27FC236}">
                  <a16:creationId xmlns:a16="http://schemas.microsoft.com/office/drawing/2014/main" id="{768208B4-8978-41FE-820D-845A9414C62A}"/>
                </a:ext>
              </a:extLst>
            </p:cNvPr>
            <p:cNvPicPr>
              <a:picLocks noChangeAspect="1"/>
            </p:cNvPicPr>
            <p:nvPr/>
          </p:nvPicPr>
          <p:blipFill>
            <a:blip r:embed="rId2"/>
            <a:stretch>
              <a:fillRect/>
            </a:stretch>
          </p:blipFill>
          <p:spPr>
            <a:xfrm>
              <a:off x="-32979" y="2422704"/>
              <a:ext cx="3628418" cy="1371600"/>
            </a:xfrm>
            <a:prstGeom prst="rect">
              <a:avLst/>
            </a:prstGeom>
          </p:spPr>
        </p:pic>
      </p:grpSp>
      <p:sp>
        <p:nvSpPr>
          <p:cNvPr id="12" name="Scroll: Vertical 11">
            <a:extLst>
              <a:ext uri="{FF2B5EF4-FFF2-40B4-BE49-F238E27FC236}">
                <a16:creationId xmlns:a16="http://schemas.microsoft.com/office/drawing/2014/main" id="{549B3173-8EF0-495F-8745-0858CF2E33E6}"/>
              </a:ext>
            </a:extLst>
          </p:cNvPr>
          <p:cNvSpPr/>
          <p:nvPr/>
        </p:nvSpPr>
        <p:spPr>
          <a:xfrm>
            <a:off x="3428255" y="939527"/>
            <a:ext cx="3399529" cy="2447849"/>
          </a:xfrm>
          <a:prstGeom prst="verticalScroll">
            <a:avLst/>
          </a:prstGeom>
          <a:solidFill>
            <a:srgbClr val="A1F0FB"/>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IN" sz="1800" b="1" i="0" dirty="0">
                <a:solidFill>
                  <a:srgbClr val="292929"/>
                </a:solidFill>
                <a:effectLst/>
                <a:latin typeface="Open Sans" panose="020B0606030504020204" pitchFamily="34" charset="0"/>
              </a:rPr>
              <a:t>Euclidean distance</a:t>
            </a:r>
          </a:p>
          <a:p>
            <a:pPr marL="342900" indent="-342900">
              <a:buFont typeface="+mj-lt"/>
              <a:buAutoNum type="arabicPeriod"/>
            </a:pPr>
            <a:r>
              <a:rPr lang="en-IN" b="1" i="0" dirty="0">
                <a:solidFill>
                  <a:srgbClr val="292929"/>
                </a:solidFill>
                <a:effectLst/>
                <a:latin typeface="Open Sans" panose="020B0606030504020204" pitchFamily="34" charset="0"/>
              </a:rPr>
              <a:t>Manhattan distance</a:t>
            </a:r>
          </a:p>
          <a:p>
            <a:pPr marL="342900" indent="-342900">
              <a:buFont typeface="+mj-lt"/>
              <a:buAutoNum type="arabicPeriod"/>
            </a:pPr>
            <a:r>
              <a:rPr lang="en-IN" b="1" i="0" dirty="0" err="1">
                <a:solidFill>
                  <a:srgbClr val="292929"/>
                </a:solidFill>
                <a:effectLst/>
                <a:latin typeface="Open Sans" panose="020B0606030504020204" pitchFamily="34" charset="0"/>
              </a:rPr>
              <a:t>Minkowski</a:t>
            </a:r>
            <a:r>
              <a:rPr lang="en-IN" b="1" i="0" dirty="0">
                <a:solidFill>
                  <a:srgbClr val="292929"/>
                </a:solidFill>
                <a:effectLst/>
                <a:latin typeface="Open Sans" panose="020B0606030504020204" pitchFamily="34" charset="0"/>
              </a:rPr>
              <a:t> distance</a:t>
            </a:r>
            <a:endParaRPr lang="en-IN" b="1" dirty="0">
              <a:solidFill>
                <a:srgbClr val="292929"/>
              </a:solidFill>
              <a:latin typeface="Open Sans" panose="020B0606030504020204" pitchFamily="34" charset="0"/>
            </a:endParaRPr>
          </a:p>
          <a:p>
            <a:pPr marL="342900" indent="-342900">
              <a:buFont typeface="+mj-lt"/>
              <a:buAutoNum type="arabicPeriod"/>
            </a:pPr>
            <a:r>
              <a:rPr lang="en-IN" b="1" i="0" dirty="0">
                <a:solidFill>
                  <a:srgbClr val="292929"/>
                </a:solidFill>
                <a:effectLst/>
                <a:latin typeface="Open Sans" panose="020B0606030504020204" pitchFamily="34" charset="0"/>
              </a:rPr>
              <a:t>Cosine Similarity</a:t>
            </a:r>
          </a:p>
          <a:p>
            <a:pPr marL="342900" indent="-342900">
              <a:buFont typeface="+mj-lt"/>
              <a:buAutoNum type="arabicPeriod"/>
            </a:pPr>
            <a:r>
              <a:rPr lang="en-IN" b="1" i="0" dirty="0">
                <a:solidFill>
                  <a:srgbClr val="292929"/>
                </a:solidFill>
                <a:effectLst/>
                <a:latin typeface="Open Sans" panose="020B0606030504020204" pitchFamily="34" charset="0"/>
              </a:rPr>
              <a:t>Jaccard Similarity</a:t>
            </a:r>
            <a:endParaRPr lang="en-US" sz="18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a:p>
            <a:pPr algn="ctr"/>
            <a:endParaRPr lang="en-IN" dirty="0"/>
          </a:p>
        </p:txBody>
      </p:sp>
      <p:sp>
        <p:nvSpPr>
          <p:cNvPr id="13" name="Rectangle: Rounded Corners 12">
            <a:extLst>
              <a:ext uri="{FF2B5EF4-FFF2-40B4-BE49-F238E27FC236}">
                <a16:creationId xmlns:a16="http://schemas.microsoft.com/office/drawing/2014/main" id="{59821620-535B-4B6B-84D3-F6CE722AE9ED}"/>
              </a:ext>
            </a:extLst>
          </p:cNvPr>
          <p:cNvSpPr/>
          <p:nvPr/>
        </p:nvSpPr>
        <p:spPr>
          <a:xfrm>
            <a:off x="153316" y="36314"/>
            <a:ext cx="11332723" cy="914400"/>
          </a:xfrm>
          <a:prstGeom prst="roundRect">
            <a:avLst/>
          </a:prstGeom>
          <a:solidFill>
            <a:srgbClr val="FC0E4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imilarity Measure is the distance with dimensions representing  features of the data objects</a:t>
            </a:r>
            <a:r>
              <a:rPr lang="en-IN" dirty="0">
                <a:solidFill>
                  <a:schemeClr val="bg1"/>
                </a:solidFill>
              </a:rPr>
              <a:t>.</a:t>
            </a:r>
          </a:p>
          <a:p>
            <a:pPr algn="ctr"/>
            <a:r>
              <a:rPr lang="en-US" b="0" i="0" dirty="0">
                <a:solidFill>
                  <a:schemeClr val="bg1"/>
                </a:solidFill>
                <a:effectLst/>
              </a:rPr>
              <a:t> Small distance-&gt; High degree of similarity</a:t>
            </a:r>
          </a:p>
          <a:p>
            <a:pPr algn="ctr"/>
            <a:r>
              <a:rPr lang="en-US" dirty="0">
                <a:solidFill>
                  <a:schemeClr val="bg1"/>
                </a:solidFill>
              </a:rPr>
              <a:t>Large distance-&gt; Low degree of similarity</a:t>
            </a:r>
            <a:endParaRPr lang="en-IN" dirty="0">
              <a:solidFill>
                <a:schemeClr val="bg1"/>
              </a:solidFill>
            </a:endParaRPr>
          </a:p>
        </p:txBody>
      </p:sp>
      <p:grpSp>
        <p:nvGrpSpPr>
          <p:cNvPr id="28" name="Group 27">
            <a:extLst>
              <a:ext uri="{FF2B5EF4-FFF2-40B4-BE49-F238E27FC236}">
                <a16:creationId xmlns:a16="http://schemas.microsoft.com/office/drawing/2014/main" id="{5B531A8C-3207-45BA-A82A-41FB64C3F9C3}"/>
              </a:ext>
            </a:extLst>
          </p:cNvPr>
          <p:cNvGrpSpPr/>
          <p:nvPr/>
        </p:nvGrpSpPr>
        <p:grpSpPr>
          <a:xfrm>
            <a:off x="6565426" y="810942"/>
            <a:ext cx="5149502" cy="2816065"/>
            <a:chOff x="6827784" y="956639"/>
            <a:chExt cx="5149502" cy="2816065"/>
          </a:xfrm>
        </p:grpSpPr>
        <p:pic>
          <p:nvPicPr>
            <p:cNvPr id="19" name="Picture 18">
              <a:extLst>
                <a:ext uri="{FF2B5EF4-FFF2-40B4-BE49-F238E27FC236}">
                  <a16:creationId xmlns:a16="http://schemas.microsoft.com/office/drawing/2014/main" id="{747C9861-7A45-42AC-B5FA-AF43D1D71F88}"/>
                </a:ext>
              </a:extLst>
            </p:cNvPr>
            <p:cNvPicPr>
              <a:picLocks noChangeAspect="1"/>
            </p:cNvPicPr>
            <p:nvPr/>
          </p:nvPicPr>
          <p:blipFill>
            <a:blip r:embed="rId3"/>
            <a:stretch>
              <a:fillRect/>
            </a:stretch>
          </p:blipFill>
          <p:spPr>
            <a:xfrm>
              <a:off x="6827784" y="1072704"/>
              <a:ext cx="4238322" cy="2700000"/>
            </a:xfrm>
            <a:prstGeom prst="rect">
              <a:avLst/>
            </a:prstGeom>
          </p:spPr>
        </p:pic>
        <p:sp>
          <p:nvSpPr>
            <p:cNvPr id="20" name="Wave 19">
              <a:extLst>
                <a:ext uri="{FF2B5EF4-FFF2-40B4-BE49-F238E27FC236}">
                  <a16:creationId xmlns:a16="http://schemas.microsoft.com/office/drawing/2014/main" id="{C2BBD816-3A3C-4E7C-AFAF-2AD83A7B1665}"/>
                </a:ext>
              </a:extLst>
            </p:cNvPr>
            <p:cNvSpPr/>
            <p:nvPr/>
          </p:nvSpPr>
          <p:spPr>
            <a:xfrm>
              <a:off x="9365123" y="956639"/>
              <a:ext cx="2612163" cy="786132"/>
            </a:xfrm>
            <a:prstGeom prst="wav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dirty="0"/>
                <a:t>Length of the path connecting two points</a:t>
              </a:r>
            </a:p>
          </p:txBody>
        </p:sp>
      </p:grpSp>
      <p:grpSp>
        <p:nvGrpSpPr>
          <p:cNvPr id="29" name="Group 28">
            <a:extLst>
              <a:ext uri="{FF2B5EF4-FFF2-40B4-BE49-F238E27FC236}">
                <a16:creationId xmlns:a16="http://schemas.microsoft.com/office/drawing/2014/main" id="{2B7E64CD-79A9-4043-B5F5-C35CB46FD866}"/>
              </a:ext>
            </a:extLst>
          </p:cNvPr>
          <p:cNvGrpSpPr/>
          <p:nvPr/>
        </p:nvGrpSpPr>
        <p:grpSpPr>
          <a:xfrm>
            <a:off x="-337931" y="3682621"/>
            <a:ext cx="5038818" cy="2686304"/>
            <a:chOff x="-437322" y="4171695"/>
            <a:chExt cx="5038818" cy="2686304"/>
          </a:xfrm>
        </p:grpSpPr>
        <p:pic>
          <p:nvPicPr>
            <p:cNvPr id="22" name="Picture 21">
              <a:extLst>
                <a:ext uri="{FF2B5EF4-FFF2-40B4-BE49-F238E27FC236}">
                  <a16:creationId xmlns:a16="http://schemas.microsoft.com/office/drawing/2014/main" id="{A3F10EBC-502F-41DA-B3A6-C54D1C0D20F6}"/>
                </a:ext>
              </a:extLst>
            </p:cNvPr>
            <p:cNvPicPr>
              <a:picLocks noChangeAspect="1"/>
            </p:cNvPicPr>
            <p:nvPr/>
          </p:nvPicPr>
          <p:blipFill>
            <a:blip r:embed="rId4"/>
            <a:stretch>
              <a:fillRect/>
            </a:stretch>
          </p:blipFill>
          <p:spPr>
            <a:xfrm>
              <a:off x="0" y="4278705"/>
              <a:ext cx="4601496" cy="2579294"/>
            </a:xfrm>
            <a:prstGeom prst="rect">
              <a:avLst/>
            </a:prstGeom>
          </p:spPr>
        </p:pic>
        <p:sp>
          <p:nvSpPr>
            <p:cNvPr id="23" name="Wave 22">
              <a:extLst>
                <a:ext uri="{FF2B5EF4-FFF2-40B4-BE49-F238E27FC236}">
                  <a16:creationId xmlns:a16="http://schemas.microsoft.com/office/drawing/2014/main" id="{DF67B5C7-AF09-4305-BAD2-7AE57CAA5D66}"/>
                </a:ext>
              </a:extLst>
            </p:cNvPr>
            <p:cNvSpPr/>
            <p:nvPr/>
          </p:nvSpPr>
          <p:spPr>
            <a:xfrm>
              <a:off x="-437322" y="4171695"/>
              <a:ext cx="2097157" cy="2487522"/>
            </a:xfrm>
            <a:prstGeom prst="wav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IN" dirty="0"/>
                <a:t>Manhattan distance is </a:t>
              </a:r>
              <a:r>
                <a:rPr lang="en-US" i="0" dirty="0">
                  <a:solidFill>
                    <a:srgbClr val="292929"/>
                  </a:solidFill>
                  <a:effectLst/>
                </a:rPr>
                <a:t>the sum of the </a:t>
              </a:r>
              <a:r>
                <a:rPr lang="en-US" b="1" i="0" dirty="0">
                  <a:solidFill>
                    <a:srgbClr val="292929"/>
                  </a:solidFill>
                  <a:effectLst/>
                </a:rPr>
                <a:t>absolute differences</a:t>
              </a:r>
              <a:r>
                <a:rPr lang="en-US" i="0" dirty="0">
                  <a:solidFill>
                    <a:srgbClr val="292929"/>
                  </a:solidFill>
                  <a:effectLst/>
                </a:rPr>
                <a:t> of their Cartesian coordinates</a:t>
              </a:r>
              <a:r>
                <a:rPr lang="en-US" b="0" i="0" dirty="0">
                  <a:solidFill>
                    <a:srgbClr val="292929"/>
                  </a:solidFill>
                  <a:effectLst/>
                </a:rPr>
                <a:t>.</a:t>
              </a:r>
              <a:endParaRPr lang="en-IN" dirty="0"/>
            </a:p>
          </p:txBody>
        </p:sp>
      </p:grpSp>
      <p:grpSp>
        <p:nvGrpSpPr>
          <p:cNvPr id="33" name="Group 32">
            <a:extLst>
              <a:ext uri="{FF2B5EF4-FFF2-40B4-BE49-F238E27FC236}">
                <a16:creationId xmlns:a16="http://schemas.microsoft.com/office/drawing/2014/main" id="{4FF8E3B0-14CA-4AD7-8D15-5A57D658415B}"/>
              </a:ext>
            </a:extLst>
          </p:cNvPr>
          <p:cNvGrpSpPr/>
          <p:nvPr/>
        </p:nvGrpSpPr>
        <p:grpSpPr>
          <a:xfrm>
            <a:off x="4700887" y="3596132"/>
            <a:ext cx="7391722" cy="2798303"/>
            <a:chOff x="4700887" y="3596132"/>
            <a:chExt cx="7391722" cy="2798303"/>
          </a:xfrm>
        </p:grpSpPr>
        <p:pic>
          <p:nvPicPr>
            <p:cNvPr id="25" name="Picture 24">
              <a:extLst>
                <a:ext uri="{FF2B5EF4-FFF2-40B4-BE49-F238E27FC236}">
                  <a16:creationId xmlns:a16="http://schemas.microsoft.com/office/drawing/2014/main" id="{5A12AE2C-B328-4218-8BB2-691D3A0D47EE}"/>
                </a:ext>
              </a:extLst>
            </p:cNvPr>
            <p:cNvPicPr>
              <a:picLocks noChangeAspect="1"/>
            </p:cNvPicPr>
            <p:nvPr/>
          </p:nvPicPr>
          <p:blipFill>
            <a:blip r:embed="rId5"/>
            <a:stretch>
              <a:fillRect/>
            </a:stretch>
          </p:blipFill>
          <p:spPr>
            <a:xfrm>
              <a:off x="4700887" y="3826272"/>
              <a:ext cx="6294665" cy="2568163"/>
            </a:xfrm>
            <a:prstGeom prst="rect">
              <a:avLst/>
            </a:prstGeom>
          </p:spPr>
        </p:pic>
        <p:sp>
          <p:nvSpPr>
            <p:cNvPr id="31" name="Wave 30">
              <a:extLst>
                <a:ext uri="{FF2B5EF4-FFF2-40B4-BE49-F238E27FC236}">
                  <a16:creationId xmlns:a16="http://schemas.microsoft.com/office/drawing/2014/main" id="{019A0CF4-3C6B-41D5-953A-0F540DF04164}"/>
                </a:ext>
              </a:extLst>
            </p:cNvPr>
            <p:cNvSpPr/>
            <p:nvPr/>
          </p:nvSpPr>
          <p:spPr>
            <a:xfrm>
              <a:off x="7715197" y="3596132"/>
              <a:ext cx="4377412" cy="914400"/>
            </a:xfrm>
            <a:prstGeom prst="wav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The </a:t>
              </a:r>
              <a:r>
                <a:rPr lang="en-US" dirty="0" err="1"/>
                <a:t>Minkowski</a:t>
              </a:r>
              <a:r>
                <a:rPr lang="en-US" dirty="0"/>
                <a:t> distance is a generalized metric form of Euclidean distance and Manhattan distance.</a:t>
              </a:r>
            </a:p>
            <a:p>
              <a:pPr algn="ctr"/>
              <a:endParaRPr lang="en-US" dirty="0"/>
            </a:p>
          </p:txBody>
        </p:sp>
      </p:grpSp>
    </p:spTree>
    <p:extLst>
      <p:ext uri="{BB962C8B-B14F-4D97-AF65-F5344CB8AC3E}">
        <p14:creationId xmlns:p14="http://schemas.microsoft.com/office/powerpoint/2010/main" val="3868334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C95BBF-F701-4EE5-9B84-ADCE80B138ED}"/>
              </a:ext>
            </a:extLst>
          </p:cNvPr>
          <p:cNvSpPr>
            <a:spLocks noGrp="1"/>
          </p:cNvSpPr>
          <p:nvPr>
            <p:ph idx="1"/>
          </p:nvPr>
        </p:nvSpPr>
        <p:spPr>
          <a:xfrm>
            <a:off x="408244" y="1074332"/>
            <a:ext cx="11657859" cy="5258374"/>
          </a:xfrm>
        </p:spPr>
        <p:txBody>
          <a:bodyPr/>
          <a:lstStyle/>
          <a:p>
            <a:r>
              <a:rPr lang="en-IN" dirty="0"/>
              <a:t>Cosine Similarity :</a:t>
            </a:r>
            <a:r>
              <a:rPr lang="en-US" dirty="0"/>
              <a:t> It is a metric used to measure how similar the documents are irrespective of their size.</a:t>
            </a:r>
          </a:p>
          <a:p>
            <a:pPr>
              <a:buFont typeface="Arial" panose="020B0604020202020204" pitchFamily="34" charset="0"/>
              <a:buChar char="•"/>
            </a:pPr>
            <a:r>
              <a:rPr lang="en-US" dirty="0"/>
              <a:t>it measures the cosine of the angle between two vectors projected in a multi-dimensional space. </a:t>
            </a:r>
          </a:p>
          <a:p>
            <a:pPr>
              <a:buFont typeface="Arial" panose="020B0604020202020204" pitchFamily="34" charset="0"/>
              <a:buChar char="•"/>
            </a:pPr>
            <a:r>
              <a:rPr lang="en-US" dirty="0"/>
              <a:t>The smaller the angle, higher the cosine similarity.</a:t>
            </a:r>
          </a:p>
          <a:p>
            <a:pPr marL="0" indent="0">
              <a:buNone/>
            </a:pPr>
            <a:endParaRPr lang="en-IN" dirty="0"/>
          </a:p>
        </p:txBody>
      </p:sp>
      <p:sp>
        <p:nvSpPr>
          <p:cNvPr id="4" name="Title 1">
            <a:extLst>
              <a:ext uri="{FF2B5EF4-FFF2-40B4-BE49-F238E27FC236}">
                <a16:creationId xmlns:a16="http://schemas.microsoft.com/office/drawing/2014/main" id="{B6FD8665-32FE-4496-9008-8EBAED26BD9F}"/>
              </a:ext>
            </a:extLst>
          </p:cNvPr>
          <p:cNvSpPr>
            <a:spLocks noGrp="1"/>
          </p:cNvSpPr>
          <p:nvPr>
            <p:ph type="title"/>
          </p:nvPr>
        </p:nvSpPr>
        <p:spPr>
          <a:xfrm>
            <a:off x="216310" y="301217"/>
            <a:ext cx="10058400" cy="701570"/>
          </a:xfrm>
        </p:spPr>
        <p:txBody>
          <a:bodyPr>
            <a:normAutofit fontScale="90000"/>
          </a:bodyPr>
          <a:lstStyle/>
          <a:p>
            <a:r>
              <a:rPr lang="en-IN" dirty="0"/>
              <a:t>NLP Algorithms-2</a:t>
            </a:r>
          </a:p>
        </p:txBody>
      </p:sp>
      <p:pic>
        <p:nvPicPr>
          <p:cNvPr id="8" name="Picture 7">
            <a:extLst>
              <a:ext uri="{FF2B5EF4-FFF2-40B4-BE49-F238E27FC236}">
                <a16:creationId xmlns:a16="http://schemas.microsoft.com/office/drawing/2014/main" id="{ED0C3800-8CC0-43F6-945A-46B7DA0DAD8F}"/>
              </a:ext>
            </a:extLst>
          </p:cNvPr>
          <p:cNvPicPr>
            <a:picLocks noChangeAspect="1"/>
          </p:cNvPicPr>
          <p:nvPr/>
        </p:nvPicPr>
        <p:blipFill>
          <a:blip r:embed="rId2"/>
          <a:stretch>
            <a:fillRect/>
          </a:stretch>
        </p:blipFill>
        <p:spPr>
          <a:xfrm>
            <a:off x="216310" y="2719143"/>
            <a:ext cx="4305994" cy="3116825"/>
          </a:xfrm>
          <a:prstGeom prst="rect">
            <a:avLst/>
          </a:prstGeom>
        </p:spPr>
      </p:pic>
      <p:pic>
        <p:nvPicPr>
          <p:cNvPr id="10" name="Picture 9">
            <a:extLst>
              <a:ext uri="{FF2B5EF4-FFF2-40B4-BE49-F238E27FC236}">
                <a16:creationId xmlns:a16="http://schemas.microsoft.com/office/drawing/2014/main" id="{12C96BA8-2D9C-4A7E-A068-AC8734579A72}"/>
              </a:ext>
            </a:extLst>
          </p:cNvPr>
          <p:cNvPicPr>
            <a:picLocks noChangeAspect="1"/>
          </p:cNvPicPr>
          <p:nvPr/>
        </p:nvPicPr>
        <p:blipFill>
          <a:blip r:embed="rId3"/>
          <a:stretch>
            <a:fillRect/>
          </a:stretch>
        </p:blipFill>
        <p:spPr>
          <a:xfrm>
            <a:off x="4620411" y="2703053"/>
            <a:ext cx="3649829" cy="3259918"/>
          </a:xfrm>
          <a:prstGeom prst="rect">
            <a:avLst/>
          </a:prstGeom>
        </p:spPr>
      </p:pic>
      <p:pic>
        <p:nvPicPr>
          <p:cNvPr id="5" name="Picture 4">
            <a:extLst>
              <a:ext uri="{FF2B5EF4-FFF2-40B4-BE49-F238E27FC236}">
                <a16:creationId xmlns:a16="http://schemas.microsoft.com/office/drawing/2014/main" id="{DA31435F-FD42-40DD-BBF7-5E01196ADDCF}"/>
              </a:ext>
            </a:extLst>
          </p:cNvPr>
          <p:cNvPicPr>
            <a:picLocks noChangeAspect="1"/>
          </p:cNvPicPr>
          <p:nvPr/>
        </p:nvPicPr>
        <p:blipFill>
          <a:blip r:embed="rId4"/>
          <a:stretch>
            <a:fillRect/>
          </a:stretch>
        </p:blipFill>
        <p:spPr>
          <a:xfrm>
            <a:off x="8144190" y="2164080"/>
            <a:ext cx="3831500" cy="3727346"/>
          </a:xfrm>
          <a:prstGeom prst="rect">
            <a:avLst/>
          </a:prstGeom>
        </p:spPr>
      </p:pic>
    </p:spTree>
    <p:extLst>
      <p:ext uri="{BB962C8B-B14F-4D97-AF65-F5344CB8AC3E}">
        <p14:creationId xmlns:p14="http://schemas.microsoft.com/office/powerpoint/2010/main" val="3352192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5DAE1-009E-49C3-A4CC-90C670A2067F}"/>
              </a:ext>
            </a:extLst>
          </p:cNvPr>
          <p:cNvSpPr>
            <a:spLocks noGrp="1"/>
          </p:cNvSpPr>
          <p:nvPr>
            <p:ph type="title"/>
          </p:nvPr>
        </p:nvSpPr>
        <p:spPr>
          <a:xfrm>
            <a:off x="437535" y="269379"/>
            <a:ext cx="10058400" cy="354150"/>
          </a:xfrm>
        </p:spPr>
        <p:txBody>
          <a:bodyPr>
            <a:normAutofit fontScale="90000"/>
          </a:bodyPr>
          <a:lstStyle/>
          <a:p>
            <a:r>
              <a:rPr lang="en-IN" dirty="0"/>
              <a:t>Cosine Similarity of docs</a:t>
            </a:r>
          </a:p>
        </p:txBody>
      </p:sp>
      <p:pic>
        <p:nvPicPr>
          <p:cNvPr id="5" name="Content Placeholder 4">
            <a:extLst>
              <a:ext uri="{FF2B5EF4-FFF2-40B4-BE49-F238E27FC236}">
                <a16:creationId xmlns:a16="http://schemas.microsoft.com/office/drawing/2014/main" id="{ADC3B4FE-8277-47C5-B1B5-1F08795D28CF}"/>
              </a:ext>
            </a:extLst>
          </p:cNvPr>
          <p:cNvPicPr>
            <a:picLocks noGrp="1" noChangeAspect="1"/>
          </p:cNvPicPr>
          <p:nvPr>
            <p:ph idx="1"/>
          </p:nvPr>
        </p:nvPicPr>
        <p:blipFill>
          <a:blip r:embed="rId2"/>
          <a:stretch>
            <a:fillRect/>
          </a:stretch>
        </p:blipFill>
        <p:spPr>
          <a:xfrm>
            <a:off x="98323" y="623529"/>
            <a:ext cx="7132159" cy="5669116"/>
          </a:xfrm>
        </p:spPr>
      </p:pic>
      <p:sp>
        <p:nvSpPr>
          <p:cNvPr id="7" name="Scroll: Horizontal 6">
            <a:extLst>
              <a:ext uri="{FF2B5EF4-FFF2-40B4-BE49-F238E27FC236}">
                <a16:creationId xmlns:a16="http://schemas.microsoft.com/office/drawing/2014/main" id="{714F8CBA-4254-4ACB-84CA-0A0A37EF9260}"/>
              </a:ext>
            </a:extLst>
          </p:cNvPr>
          <p:cNvSpPr/>
          <p:nvPr/>
        </p:nvSpPr>
        <p:spPr>
          <a:xfrm>
            <a:off x="6440547" y="394712"/>
            <a:ext cx="4970833" cy="1084271"/>
          </a:xfrm>
          <a:prstGeom prst="horizontalScroll">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3 docs from the common cricket theme. Consider top three common words </a:t>
            </a:r>
            <a:r>
              <a:rPr lang="en-IN" dirty="0" err="1"/>
              <a:t>sachin,dhoni</a:t>
            </a:r>
            <a:r>
              <a:rPr lang="en-IN" dirty="0"/>
              <a:t> &amp; cricket</a:t>
            </a:r>
          </a:p>
        </p:txBody>
      </p:sp>
      <p:pic>
        <p:nvPicPr>
          <p:cNvPr id="9" name="Picture 8">
            <a:extLst>
              <a:ext uri="{FF2B5EF4-FFF2-40B4-BE49-F238E27FC236}">
                <a16:creationId xmlns:a16="http://schemas.microsoft.com/office/drawing/2014/main" id="{D1AFFD55-BEE1-43B5-AA50-8F94678610C7}"/>
              </a:ext>
            </a:extLst>
          </p:cNvPr>
          <p:cNvPicPr>
            <a:picLocks noChangeAspect="1"/>
          </p:cNvPicPr>
          <p:nvPr/>
        </p:nvPicPr>
        <p:blipFill>
          <a:blip r:embed="rId3"/>
          <a:stretch>
            <a:fillRect/>
          </a:stretch>
        </p:blipFill>
        <p:spPr>
          <a:xfrm>
            <a:off x="7466456" y="1478983"/>
            <a:ext cx="4725544" cy="4361378"/>
          </a:xfrm>
          <a:prstGeom prst="rect">
            <a:avLst/>
          </a:prstGeom>
        </p:spPr>
      </p:pic>
    </p:spTree>
    <p:extLst>
      <p:ext uri="{BB962C8B-B14F-4D97-AF65-F5344CB8AC3E}">
        <p14:creationId xmlns:p14="http://schemas.microsoft.com/office/powerpoint/2010/main" val="9286556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9E1DEB1-F574-43F5-8645-A4F6FD78627C}"/>
              </a:ext>
            </a:extLst>
          </p:cNvPr>
          <p:cNvSpPr/>
          <p:nvPr/>
        </p:nvSpPr>
        <p:spPr>
          <a:xfrm>
            <a:off x="41308" y="658764"/>
            <a:ext cx="4114799" cy="15175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Collocations – Two or more words </a:t>
            </a:r>
            <a:r>
              <a:rPr lang="en-US" dirty="0"/>
              <a:t>that tend to appear frequently together.</a:t>
            </a:r>
          </a:p>
          <a:p>
            <a:pPr algn="ctr"/>
            <a:r>
              <a:rPr lang="en-US" dirty="0"/>
              <a:t>The context  in collocations will be a document in the form of a list of words.</a:t>
            </a:r>
            <a:endParaRPr lang="en-IN" dirty="0"/>
          </a:p>
        </p:txBody>
      </p:sp>
      <p:sp>
        <p:nvSpPr>
          <p:cNvPr id="7" name="Title 1">
            <a:extLst>
              <a:ext uri="{FF2B5EF4-FFF2-40B4-BE49-F238E27FC236}">
                <a16:creationId xmlns:a16="http://schemas.microsoft.com/office/drawing/2014/main" id="{2AD1A23F-0DC7-4E48-AC0F-BBF604C0E6D5}"/>
              </a:ext>
            </a:extLst>
          </p:cNvPr>
          <p:cNvSpPr>
            <a:spLocks noGrp="1"/>
          </p:cNvSpPr>
          <p:nvPr>
            <p:ph type="title"/>
          </p:nvPr>
        </p:nvSpPr>
        <p:spPr>
          <a:xfrm>
            <a:off x="196645" y="25529"/>
            <a:ext cx="3772240" cy="669850"/>
          </a:xfrm>
        </p:spPr>
        <p:txBody>
          <a:bodyPr>
            <a:normAutofit fontScale="90000"/>
          </a:bodyPr>
          <a:lstStyle/>
          <a:p>
            <a:r>
              <a:rPr lang="en-IN" dirty="0"/>
              <a:t>Collocations</a:t>
            </a:r>
          </a:p>
        </p:txBody>
      </p:sp>
      <p:pic>
        <p:nvPicPr>
          <p:cNvPr id="9" name="Picture 8">
            <a:extLst>
              <a:ext uri="{FF2B5EF4-FFF2-40B4-BE49-F238E27FC236}">
                <a16:creationId xmlns:a16="http://schemas.microsoft.com/office/drawing/2014/main" id="{6F453EAD-7D7D-448D-9B09-4670BE358D27}"/>
              </a:ext>
            </a:extLst>
          </p:cNvPr>
          <p:cNvPicPr>
            <a:picLocks noChangeAspect="1"/>
          </p:cNvPicPr>
          <p:nvPr/>
        </p:nvPicPr>
        <p:blipFill>
          <a:blip r:embed="rId2"/>
          <a:stretch>
            <a:fillRect/>
          </a:stretch>
        </p:blipFill>
        <p:spPr>
          <a:xfrm>
            <a:off x="4197145" y="45239"/>
            <a:ext cx="4114799" cy="1596696"/>
          </a:xfrm>
          <a:prstGeom prst="rect">
            <a:avLst/>
          </a:prstGeom>
        </p:spPr>
      </p:pic>
      <p:sp>
        <p:nvSpPr>
          <p:cNvPr id="11" name="Scroll: Vertical 10">
            <a:extLst>
              <a:ext uri="{FF2B5EF4-FFF2-40B4-BE49-F238E27FC236}">
                <a16:creationId xmlns:a16="http://schemas.microsoft.com/office/drawing/2014/main" id="{9E2BB8A0-6E0F-49CE-9815-3E98D41DE6C0}"/>
              </a:ext>
            </a:extLst>
          </p:cNvPr>
          <p:cNvSpPr/>
          <p:nvPr/>
        </p:nvSpPr>
        <p:spPr>
          <a:xfrm>
            <a:off x="8344606" y="32686"/>
            <a:ext cx="3820878" cy="2465962"/>
          </a:xfrm>
          <a:prstGeom prst="verticalScroll">
            <a:avLst/>
          </a:prstGeom>
          <a:solidFill>
            <a:schemeClr val="accent5">
              <a:lumMod val="40000"/>
              <a:lumOff val="6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Applications</a:t>
            </a:r>
          </a:p>
          <a:p>
            <a:pPr marL="285750" indent="-285750">
              <a:buFont typeface="Arial" panose="020B0604020202020204" pitchFamily="34" charset="0"/>
              <a:buChar char="•"/>
            </a:pPr>
            <a:r>
              <a:rPr lang="en-IN" dirty="0">
                <a:solidFill>
                  <a:schemeClr val="tx1"/>
                </a:solidFill>
              </a:rPr>
              <a:t>Natural Language Generation</a:t>
            </a:r>
          </a:p>
          <a:p>
            <a:pPr marL="285750" indent="-285750">
              <a:buFont typeface="Arial" panose="020B0604020202020204" pitchFamily="34" charset="0"/>
              <a:buChar char="•"/>
            </a:pPr>
            <a:r>
              <a:rPr lang="en-IN" dirty="0">
                <a:solidFill>
                  <a:schemeClr val="tx1"/>
                </a:solidFill>
              </a:rPr>
              <a:t>Computational Lexicography</a:t>
            </a:r>
          </a:p>
          <a:p>
            <a:pPr marL="285750" indent="-285750">
              <a:buFont typeface="Arial" panose="020B0604020202020204" pitchFamily="34" charset="0"/>
              <a:buChar char="•"/>
            </a:pPr>
            <a:r>
              <a:rPr lang="en-IN" dirty="0">
                <a:solidFill>
                  <a:schemeClr val="tx1"/>
                </a:solidFill>
              </a:rPr>
              <a:t>Parsing</a:t>
            </a:r>
          </a:p>
          <a:p>
            <a:pPr marL="285750" indent="-285750">
              <a:buFont typeface="Arial" panose="020B0604020202020204" pitchFamily="34" charset="0"/>
              <a:buChar char="•"/>
            </a:pPr>
            <a:r>
              <a:rPr lang="en-IN" dirty="0">
                <a:solidFill>
                  <a:schemeClr val="tx1"/>
                </a:solidFill>
              </a:rPr>
              <a:t>corpus linguistic research</a:t>
            </a:r>
          </a:p>
          <a:p>
            <a:pPr algn="ctr"/>
            <a:endParaRPr lang="en-IN" dirty="0">
              <a:solidFill>
                <a:schemeClr val="tx1"/>
              </a:solidFill>
            </a:endParaRPr>
          </a:p>
        </p:txBody>
      </p:sp>
      <p:grpSp>
        <p:nvGrpSpPr>
          <p:cNvPr id="20" name="Group 19">
            <a:extLst>
              <a:ext uri="{FF2B5EF4-FFF2-40B4-BE49-F238E27FC236}">
                <a16:creationId xmlns:a16="http://schemas.microsoft.com/office/drawing/2014/main" id="{10F964B2-73AA-46EF-A0DC-B45A4BA1DB66}"/>
              </a:ext>
            </a:extLst>
          </p:cNvPr>
          <p:cNvGrpSpPr/>
          <p:nvPr/>
        </p:nvGrpSpPr>
        <p:grpSpPr>
          <a:xfrm>
            <a:off x="381047" y="2311785"/>
            <a:ext cx="11700025" cy="4770537"/>
            <a:chOff x="381047" y="2311785"/>
            <a:chExt cx="11700025" cy="4770537"/>
          </a:xfrm>
        </p:grpSpPr>
        <p:sp>
          <p:nvSpPr>
            <p:cNvPr id="2" name="TextBox 1">
              <a:extLst>
                <a:ext uri="{FF2B5EF4-FFF2-40B4-BE49-F238E27FC236}">
                  <a16:creationId xmlns:a16="http://schemas.microsoft.com/office/drawing/2014/main" id="{1CA25519-75CA-4A8D-A163-54B418DB63F9}"/>
                </a:ext>
              </a:extLst>
            </p:cNvPr>
            <p:cNvSpPr txBox="1"/>
            <p:nvPr/>
          </p:nvSpPr>
          <p:spPr>
            <a:xfrm>
              <a:off x="381047" y="2311785"/>
              <a:ext cx="11700025" cy="4770537"/>
            </a:xfrm>
            <a:prstGeom prst="rect">
              <a:avLst/>
            </a:prstGeom>
            <a:noFill/>
          </p:spPr>
          <p:txBody>
            <a:bodyPr wrap="square" rtlCol="0">
              <a:spAutoFit/>
            </a:bodyPr>
            <a:lstStyle/>
            <a:p>
              <a:r>
                <a:rPr lang="en-IN" b="1" dirty="0"/>
                <a:t>Principal methods:</a:t>
              </a:r>
            </a:p>
            <a:p>
              <a:endParaRPr lang="en-IN" dirty="0"/>
            </a:p>
            <a:p>
              <a:pPr marL="285750" indent="-285750">
                <a:buFont typeface="Wingdings" panose="05000000000000000000" pitchFamily="2" charset="2"/>
                <a:buChar char="§"/>
              </a:pPr>
              <a:r>
                <a:rPr lang="en-IN" b="1" dirty="0"/>
                <a:t>By Frequency: </a:t>
              </a:r>
              <a:r>
                <a:rPr lang="en-IN" dirty="0"/>
                <a:t>Counting the number of occurrences of the words occurs in the sequence.</a:t>
              </a:r>
            </a:p>
            <a:p>
              <a:r>
                <a:rPr lang="en-IN" dirty="0"/>
                <a:t>Limitation: Fixed Phrase , Context is not considered </a:t>
              </a:r>
              <a:r>
                <a:rPr lang="en-IN" dirty="0" err="1"/>
                <a:t>eg</a:t>
              </a:r>
              <a:r>
                <a:rPr lang="en-IN" dirty="0"/>
                <a:t> MAN FORCE ( man and force can be both noun and adjectives)</a:t>
              </a:r>
            </a:p>
            <a:p>
              <a:endParaRPr lang="en-IN" dirty="0"/>
            </a:p>
            <a:p>
              <a:pPr marL="285750" indent="-285750">
                <a:buFont typeface="Wingdings" panose="05000000000000000000" pitchFamily="2" charset="2"/>
                <a:buChar char="§"/>
              </a:pPr>
              <a:r>
                <a:rPr lang="en-IN" b="1" dirty="0"/>
                <a:t>By Mean and Variance:  </a:t>
              </a:r>
              <a:r>
                <a:rPr lang="en-IN" dirty="0"/>
                <a:t>Offsets (signed distance between two words) mean and variance</a:t>
              </a:r>
            </a:p>
            <a:p>
              <a:pPr marL="2628900" lvl="5" indent="-342900">
                <a:buFont typeface="+mj-lt"/>
                <a:buAutoNum type="alphaLcPeriod"/>
              </a:pPr>
              <a:r>
                <a:rPr lang="en-IN" dirty="0"/>
                <a:t>she knocked on his door</a:t>
              </a:r>
            </a:p>
            <a:p>
              <a:pPr marL="2628900" lvl="5" indent="-342900">
                <a:buFont typeface="+mj-lt"/>
                <a:buAutoNum type="alphaLcPeriod"/>
              </a:pPr>
              <a:r>
                <a:rPr lang="en-IN" dirty="0"/>
                <a:t>They knocked at the door</a:t>
              </a:r>
            </a:p>
            <a:p>
              <a:pPr marL="2628900" lvl="5" indent="-342900">
                <a:buFont typeface="+mj-lt"/>
                <a:buAutoNum type="alphaLcPeriod"/>
              </a:pPr>
              <a:r>
                <a:rPr lang="en-IN" dirty="0"/>
                <a:t>100 women knocked on Donaldson’s door</a:t>
              </a:r>
            </a:p>
            <a:p>
              <a:pPr marL="2628900" lvl="5" indent="-342900">
                <a:buFont typeface="+mj-lt"/>
                <a:buAutoNum type="alphaLcPeriod"/>
              </a:pPr>
              <a:r>
                <a:rPr lang="en-IN" dirty="0"/>
                <a:t>a man knocked on the metal front door</a:t>
              </a:r>
            </a:p>
            <a:p>
              <a:r>
                <a:rPr lang="en-IN" dirty="0"/>
                <a:t> Collocation: Knocked door , But the Phrase is variable . The different words comes in between the two words </a:t>
              </a:r>
            </a:p>
            <a:p>
              <a:r>
                <a:rPr lang="en-IN" dirty="0"/>
                <a:t>Mean offset=                                            Donaldson’s three tokens Donaldson , ‘ ,s</a:t>
              </a:r>
            </a:p>
            <a:p>
              <a:endParaRPr lang="en-IN" dirty="0"/>
            </a:p>
            <a:p>
              <a:r>
                <a:rPr lang="en-IN" dirty="0"/>
                <a:t>Offset Variance =                                    </a:t>
              </a:r>
              <a:r>
                <a:rPr lang="en-IN" sz="1600" dirty="0"/>
                <a:t>d – Offset Distance , n – Number of times two words are co occur. µ mean.</a:t>
              </a:r>
            </a:p>
            <a:p>
              <a:endParaRPr lang="en-IN" sz="1600" dirty="0"/>
            </a:p>
            <a:p>
              <a:r>
                <a:rPr lang="en-IN" dirty="0"/>
                <a:t>Offset STD: </a:t>
              </a:r>
            </a:p>
            <a:p>
              <a:endParaRPr lang="en-IN" dirty="0"/>
            </a:p>
          </p:txBody>
        </p:sp>
        <p:pic>
          <p:nvPicPr>
            <p:cNvPr id="8" name="Picture 7">
              <a:extLst>
                <a:ext uri="{FF2B5EF4-FFF2-40B4-BE49-F238E27FC236}">
                  <a16:creationId xmlns:a16="http://schemas.microsoft.com/office/drawing/2014/main" id="{01CC2499-3FA3-424B-ADB0-7907C0BB486A}"/>
                </a:ext>
              </a:extLst>
            </p:cNvPr>
            <p:cNvPicPr>
              <a:picLocks noChangeAspect="1"/>
            </p:cNvPicPr>
            <p:nvPr/>
          </p:nvPicPr>
          <p:blipFill>
            <a:blip r:embed="rId3"/>
            <a:stretch>
              <a:fillRect/>
            </a:stretch>
          </p:blipFill>
          <p:spPr>
            <a:xfrm>
              <a:off x="1865583" y="5320762"/>
              <a:ext cx="2103302" cy="510584"/>
            </a:xfrm>
            <a:prstGeom prst="rect">
              <a:avLst/>
            </a:prstGeom>
          </p:spPr>
        </p:pic>
        <p:pic>
          <p:nvPicPr>
            <p:cNvPr id="13" name="Picture 12">
              <a:extLst>
                <a:ext uri="{FF2B5EF4-FFF2-40B4-BE49-F238E27FC236}">
                  <a16:creationId xmlns:a16="http://schemas.microsoft.com/office/drawing/2014/main" id="{71632BE5-3BEA-4B7F-92F5-78E2B732E0AB}"/>
                </a:ext>
              </a:extLst>
            </p:cNvPr>
            <p:cNvPicPr>
              <a:picLocks noChangeAspect="1"/>
            </p:cNvPicPr>
            <p:nvPr/>
          </p:nvPicPr>
          <p:blipFill>
            <a:blip r:embed="rId4"/>
            <a:stretch>
              <a:fillRect/>
            </a:stretch>
          </p:blipFill>
          <p:spPr>
            <a:xfrm>
              <a:off x="2162788" y="5701832"/>
              <a:ext cx="1806097" cy="502964"/>
            </a:xfrm>
            <a:prstGeom prst="rect">
              <a:avLst/>
            </a:prstGeom>
          </p:spPr>
        </p:pic>
        <p:pic>
          <p:nvPicPr>
            <p:cNvPr id="19" name="Picture 18">
              <a:extLst>
                <a:ext uri="{FF2B5EF4-FFF2-40B4-BE49-F238E27FC236}">
                  <a16:creationId xmlns:a16="http://schemas.microsoft.com/office/drawing/2014/main" id="{C3842DEF-CDA7-4303-B51A-282B87E2F24D}"/>
                </a:ext>
              </a:extLst>
            </p:cNvPr>
            <p:cNvPicPr>
              <a:picLocks noChangeAspect="1"/>
            </p:cNvPicPr>
            <p:nvPr/>
          </p:nvPicPr>
          <p:blipFill>
            <a:blip r:embed="rId5"/>
            <a:stretch>
              <a:fillRect/>
            </a:stretch>
          </p:blipFill>
          <p:spPr>
            <a:xfrm>
              <a:off x="1648834" y="6263588"/>
              <a:ext cx="5723116" cy="594412"/>
            </a:xfrm>
            <a:prstGeom prst="rect">
              <a:avLst/>
            </a:prstGeom>
          </p:spPr>
        </p:pic>
      </p:grpSp>
    </p:spTree>
    <p:extLst>
      <p:ext uri="{BB962C8B-B14F-4D97-AF65-F5344CB8AC3E}">
        <p14:creationId xmlns:p14="http://schemas.microsoft.com/office/powerpoint/2010/main" val="4384379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F07AF9-BA88-462D-8557-7FF488B0E495}"/>
              </a:ext>
            </a:extLst>
          </p:cNvPr>
          <p:cNvSpPr txBox="1"/>
          <p:nvPr/>
        </p:nvSpPr>
        <p:spPr>
          <a:xfrm>
            <a:off x="491975" y="774815"/>
            <a:ext cx="11700025" cy="5632311"/>
          </a:xfrm>
          <a:prstGeom prst="rect">
            <a:avLst/>
          </a:prstGeom>
          <a:noFill/>
        </p:spPr>
        <p:txBody>
          <a:bodyPr wrap="square" rtlCol="0">
            <a:spAutoFit/>
          </a:bodyPr>
          <a:lstStyle/>
          <a:p>
            <a:r>
              <a:rPr lang="en-IN" b="1" dirty="0"/>
              <a:t>Principal methods:</a:t>
            </a:r>
          </a:p>
          <a:p>
            <a:endParaRPr lang="en-IN" dirty="0"/>
          </a:p>
          <a:p>
            <a:pPr marL="285750" indent="-285750">
              <a:buFont typeface="Wingdings" panose="05000000000000000000" pitchFamily="2" charset="2"/>
              <a:buChar char="§"/>
            </a:pPr>
            <a:r>
              <a:rPr lang="en-IN" b="1" dirty="0"/>
              <a:t>By Mean and Variance: </a:t>
            </a:r>
          </a:p>
          <a:p>
            <a:r>
              <a:rPr lang="en-IN" dirty="0"/>
              <a:t>		A low std -&gt; Two words usually occurs at the same distance</a:t>
            </a:r>
          </a:p>
          <a:p>
            <a:r>
              <a:rPr lang="en-IN" dirty="0"/>
              <a:t>		Zero std -&gt; </a:t>
            </a:r>
            <a:r>
              <a:rPr lang="en-US" dirty="0"/>
              <a:t> Two words always occur at </a:t>
            </a:r>
            <a:r>
              <a:rPr lang="en-US" b="1" dirty="0"/>
              <a:t>exactly the same </a:t>
            </a:r>
            <a:r>
              <a:rPr lang="en-US" dirty="0"/>
              <a:t>distance.</a:t>
            </a:r>
          </a:p>
          <a:p>
            <a:endParaRPr lang="en-US" dirty="0"/>
          </a:p>
          <a:p>
            <a:r>
              <a:rPr lang="en-US" dirty="0"/>
              <a:t>Variance-based collocation discovery is the appropriate of words that are in a looser relationship than fixed phrases.</a:t>
            </a:r>
          </a:p>
          <a:p>
            <a:endParaRPr lang="en-IN" dirty="0"/>
          </a:p>
          <a:p>
            <a:pPr marL="285750" indent="-285750">
              <a:buFont typeface="Wingdings" panose="05000000000000000000" pitchFamily="2" charset="2"/>
              <a:buChar char="§"/>
            </a:pPr>
            <a:r>
              <a:rPr lang="en-IN" b="1" dirty="0"/>
              <a:t> By Hypothesis Testing :</a:t>
            </a:r>
          </a:p>
          <a:p>
            <a:pPr marL="742950" lvl="1" indent="-285750">
              <a:buFont typeface="Arial" panose="020B0604020202020204" pitchFamily="34" charset="0"/>
              <a:buChar char="•"/>
            </a:pPr>
            <a:r>
              <a:rPr lang="en-US" dirty="0"/>
              <a:t>Used to assess  that two words occur together more often than chance.</a:t>
            </a:r>
          </a:p>
          <a:p>
            <a:pPr marL="742950" lvl="1" indent="-285750">
              <a:buFont typeface="Arial" panose="020B0604020202020204" pitchFamily="34" charset="0"/>
              <a:buChar char="•"/>
            </a:pPr>
            <a:r>
              <a:rPr lang="en-IN" dirty="0"/>
              <a:t>null hypothesis H0</a:t>
            </a:r>
            <a:r>
              <a:rPr lang="en-IN" b="1" dirty="0"/>
              <a:t>: </a:t>
            </a:r>
            <a:r>
              <a:rPr lang="en-US" dirty="0"/>
              <a:t>there is no association between the words beyond chance occurrences.</a:t>
            </a:r>
          </a:p>
          <a:p>
            <a:pPr marL="742950" lvl="1" indent="-285750">
              <a:buFont typeface="Arial" panose="020B0604020202020204" pitchFamily="34" charset="0"/>
              <a:buChar char="•"/>
            </a:pPr>
            <a:r>
              <a:rPr lang="en-US" dirty="0"/>
              <a:t>compute the probability p that the event would occur if H0 were true, </a:t>
            </a:r>
          </a:p>
          <a:p>
            <a:pPr lvl="1"/>
            <a:r>
              <a:rPr lang="en-US" dirty="0"/>
              <a:t>	and then reject H0 if p is too low (typically if beneath a significance level of p &lt; 0:05, 0:01, 0:005, or 0:001) </a:t>
            </a:r>
          </a:p>
          <a:p>
            <a:pPr lvl="1"/>
            <a:r>
              <a:rPr lang="en-US" dirty="0"/>
              <a:t>	and retain H0 as possible otherwise</a:t>
            </a:r>
            <a:endParaRPr lang="en-IN" b="1" dirty="0"/>
          </a:p>
          <a:p>
            <a:pPr lvl="1"/>
            <a:r>
              <a:rPr lang="en-IN" b="1" dirty="0"/>
              <a:t>		</a:t>
            </a:r>
          </a:p>
          <a:p>
            <a:pPr marL="285750" indent="-285750">
              <a:buFont typeface="Wingdings" panose="05000000000000000000" pitchFamily="2" charset="2"/>
              <a:buChar char="§"/>
            </a:pPr>
            <a:r>
              <a:rPr lang="en-IN" b="1" dirty="0"/>
              <a:t> By Mutual Information:</a:t>
            </a:r>
          </a:p>
          <a:p>
            <a:pPr marL="742950" lvl="1" indent="-285750">
              <a:buFont typeface="Wingdings" panose="05000000000000000000" pitchFamily="2" charset="2"/>
              <a:buChar char="§"/>
            </a:pPr>
            <a:endParaRPr lang="en-US" dirty="0"/>
          </a:p>
          <a:p>
            <a:pPr marL="742950" lvl="1" indent="-285750">
              <a:buFont typeface="Wingdings" panose="05000000000000000000" pitchFamily="2" charset="2"/>
              <a:buChar char="§"/>
            </a:pPr>
            <a:r>
              <a:rPr lang="en-US" dirty="0"/>
              <a:t>Mutual information is a measure of how much one word tells us about the other.</a:t>
            </a:r>
          </a:p>
          <a:p>
            <a:pPr marL="742950" lvl="1" indent="-285750">
              <a:buFont typeface="Wingdings" panose="05000000000000000000" pitchFamily="2" charset="2"/>
              <a:buChar char="§"/>
            </a:pPr>
            <a:r>
              <a:rPr lang="en-US" dirty="0"/>
              <a:t>It measures the reduction of uncertainty about the occurrence of one word when we are told about the occurrence of the other.</a:t>
            </a:r>
            <a:endParaRPr lang="en-IN" b="1" dirty="0"/>
          </a:p>
        </p:txBody>
      </p:sp>
      <p:sp>
        <p:nvSpPr>
          <p:cNvPr id="5" name="Title 1">
            <a:extLst>
              <a:ext uri="{FF2B5EF4-FFF2-40B4-BE49-F238E27FC236}">
                <a16:creationId xmlns:a16="http://schemas.microsoft.com/office/drawing/2014/main" id="{4C49AC59-D8F7-4965-BC3E-C6E21AB10E79}"/>
              </a:ext>
            </a:extLst>
          </p:cNvPr>
          <p:cNvSpPr>
            <a:spLocks noGrp="1"/>
          </p:cNvSpPr>
          <p:nvPr>
            <p:ph type="title"/>
          </p:nvPr>
        </p:nvSpPr>
        <p:spPr>
          <a:xfrm>
            <a:off x="196645" y="25529"/>
            <a:ext cx="3772240" cy="669850"/>
          </a:xfrm>
        </p:spPr>
        <p:txBody>
          <a:bodyPr>
            <a:normAutofit fontScale="90000"/>
          </a:bodyPr>
          <a:lstStyle/>
          <a:p>
            <a:r>
              <a:rPr lang="en-IN" dirty="0"/>
              <a:t>Collocations</a:t>
            </a:r>
          </a:p>
        </p:txBody>
      </p:sp>
      <p:pic>
        <p:nvPicPr>
          <p:cNvPr id="7" name="Picture 6">
            <a:extLst>
              <a:ext uri="{FF2B5EF4-FFF2-40B4-BE49-F238E27FC236}">
                <a16:creationId xmlns:a16="http://schemas.microsoft.com/office/drawing/2014/main" id="{884CAED4-B507-408B-B94B-44DAE5340CB5}"/>
              </a:ext>
            </a:extLst>
          </p:cNvPr>
          <p:cNvPicPr>
            <a:picLocks noChangeAspect="1"/>
          </p:cNvPicPr>
          <p:nvPr/>
        </p:nvPicPr>
        <p:blipFill>
          <a:blip r:embed="rId2"/>
          <a:stretch>
            <a:fillRect/>
          </a:stretch>
        </p:blipFill>
        <p:spPr>
          <a:xfrm>
            <a:off x="3427096" y="4866724"/>
            <a:ext cx="2789162" cy="548688"/>
          </a:xfrm>
          <a:prstGeom prst="rect">
            <a:avLst/>
          </a:prstGeom>
        </p:spPr>
      </p:pic>
    </p:spTree>
    <p:extLst>
      <p:ext uri="{BB962C8B-B14F-4D97-AF65-F5344CB8AC3E}">
        <p14:creationId xmlns:p14="http://schemas.microsoft.com/office/powerpoint/2010/main" val="3987381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A5F437-6636-3F84-D22C-3A0F694881FF}"/>
              </a:ext>
            </a:extLst>
          </p:cNvPr>
          <p:cNvSpPr>
            <a:spLocks noGrp="1"/>
          </p:cNvSpPr>
          <p:nvPr>
            <p:ph type="title"/>
          </p:nvPr>
        </p:nvSpPr>
        <p:spPr>
          <a:xfrm>
            <a:off x="1371599" y="294538"/>
            <a:ext cx="9895951" cy="1033669"/>
          </a:xfrm>
        </p:spPr>
        <p:txBody>
          <a:bodyPr>
            <a:normAutofit/>
          </a:bodyPr>
          <a:lstStyle/>
          <a:p>
            <a:r>
              <a:rPr lang="en-US" sz="4000" dirty="0">
                <a:solidFill>
                  <a:srgbClr val="FFFFFF"/>
                </a:solidFill>
              </a:rPr>
              <a:t> What ?????????</a:t>
            </a:r>
            <a:endParaRPr lang="en-IN" sz="4000" dirty="0">
              <a:solidFill>
                <a:srgbClr val="FFFFFF"/>
              </a:solidFill>
            </a:endParaRPr>
          </a:p>
        </p:txBody>
      </p:sp>
      <p:sp>
        <p:nvSpPr>
          <p:cNvPr id="3" name="Text Placeholder 2">
            <a:extLst>
              <a:ext uri="{FF2B5EF4-FFF2-40B4-BE49-F238E27FC236}">
                <a16:creationId xmlns:a16="http://schemas.microsoft.com/office/drawing/2014/main" id="{CEA82C25-5D5E-65F4-08C2-CEA27E48DAD2}"/>
              </a:ext>
            </a:extLst>
          </p:cNvPr>
          <p:cNvSpPr>
            <a:spLocks noGrp="1"/>
          </p:cNvSpPr>
          <p:nvPr>
            <p:ph type="body" idx="1"/>
          </p:nvPr>
        </p:nvSpPr>
        <p:spPr>
          <a:xfrm>
            <a:off x="5465854" y="1717040"/>
            <a:ext cx="6238466" cy="4470400"/>
          </a:xfrm>
        </p:spPr>
        <p:txBody>
          <a:bodyPr anchor="ctr">
            <a:normAutofit/>
          </a:bodyPr>
          <a:lstStyle/>
          <a:p>
            <a:pPr algn="just"/>
            <a:r>
              <a:rPr lang="en-US" sz="2400" b="1" i="0" dirty="0">
                <a:solidFill>
                  <a:srgbClr val="5F6368"/>
                </a:solidFill>
                <a:effectLst/>
                <a:highlight>
                  <a:srgbClr val="FFFFFF"/>
                </a:highlight>
                <a:latin typeface="arial" panose="020B0604020202020204" pitchFamily="34" charset="0"/>
              </a:rPr>
              <a:t>Natural language processing</a:t>
            </a:r>
            <a:r>
              <a:rPr lang="en-US" sz="2400" b="0" i="0" dirty="0">
                <a:solidFill>
                  <a:srgbClr val="4D5156"/>
                </a:solidFill>
                <a:effectLst/>
                <a:highlight>
                  <a:srgbClr val="FFFFFF"/>
                </a:highlight>
                <a:latin typeface="arial" panose="020B0604020202020204" pitchFamily="34" charset="0"/>
              </a:rPr>
              <a:t> (NLP) is a form of Artificial Intelligence that gives computers the ability to interpret, manipulate, and comprehend human language.</a:t>
            </a:r>
          </a:p>
          <a:p>
            <a:pPr algn="just"/>
            <a:endParaRPr lang="en-US" sz="2400" b="0" i="0" dirty="0">
              <a:solidFill>
                <a:srgbClr val="4D5156"/>
              </a:solidFill>
              <a:effectLst/>
              <a:highlight>
                <a:srgbClr val="FFFFFF"/>
              </a:highlight>
              <a:latin typeface="arial" panose="020B0604020202020204" pitchFamily="34" charset="0"/>
            </a:endParaRPr>
          </a:p>
          <a:p>
            <a:pPr algn="just"/>
            <a:r>
              <a:rPr lang="en-US" sz="2400" dirty="0"/>
              <a:t>NLP </a:t>
            </a:r>
            <a:r>
              <a:rPr lang="en-US" sz="2400" dirty="0">
                <a:solidFill>
                  <a:srgbClr val="5F6368"/>
                </a:solidFill>
                <a:highlight>
                  <a:srgbClr val="FFFFFF"/>
                </a:highlight>
                <a:latin typeface="arial" panose="020B0604020202020204" pitchFamily="34" charset="0"/>
              </a:rPr>
              <a:t>combines computational linguistics(rule-based modeling of human language) with statistical, machine learning, and deep learning models.</a:t>
            </a:r>
          </a:p>
          <a:p>
            <a:pPr algn="just"/>
            <a:endParaRPr lang="en-IN" sz="2400" dirty="0"/>
          </a:p>
        </p:txBody>
      </p:sp>
      <p:grpSp>
        <p:nvGrpSpPr>
          <p:cNvPr id="13" name="Group 12">
            <a:extLst>
              <a:ext uri="{FF2B5EF4-FFF2-40B4-BE49-F238E27FC236}">
                <a16:creationId xmlns:a16="http://schemas.microsoft.com/office/drawing/2014/main" id="{D5F3B233-51BF-163F-224F-C0B811551366}"/>
              </a:ext>
            </a:extLst>
          </p:cNvPr>
          <p:cNvGrpSpPr/>
          <p:nvPr/>
        </p:nvGrpSpPr>
        <p:grpSpPr>
          <a:xfrm>
            <a:off x="-1399569" y="1511692"/>
            <a:ext cx="8128000" cy="5418667"/>
            <a:chOff x="-1358472" y="1705788"/>
            <a:chExt cx="8128000" cy="5418667"/>
          </a:xfrm>
        </p:grpSpPr>
        <p:graphicFrame>
          <p:nvGraphicFramePr>
            <p:cNvPr id="9" name="Diagram 8">
              <a:extLst>
                <a:ext uri="{FF2B5EF4-FFF2-40B4-BE49-F238E27FC236}">
                  <a16:creationId xmlns:a16="http://schemas.microsoft.com/office/drawing/2014/main" id="{F7943647-EEB5-9835-0A91-818EAD8ABDB0}"/>
                </a:ext>
              </a:extLst>
            </p:cNvPr>
            <p:cNvGraphicFramePr/>
            <p:nvPr>
              <p:extLst>
                <p:ext uri="{D42A27DB-BD31-4B8C-83A1-F6EECF244321}">
                  <p14:modId xmlns:p14="http://schemas.microsoft.com/office/powerpoint/2010/main" val="3815072611"/>
                </p:ext>
              </p:extLst>
            </p:nvPr>
          </p:nvGraphicFramePr>
          <p:xfrm>
            <a:off x="-1358472" y="170578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Oval 10">
              <a:extLst>
                <a:ext uri="{FF2B5EF4-FFF2-40B4-BE49-F238E27FC236}">
                  <a16:creationId xmlns:a16="http://schemas.microsoft.com/office/drawing/2014/main" id="{7F112D59-F555-641A-1B03-ADE479F569BD}"/>
                </a:ext>
              </a:extLst>
            </p:cNvPr>
            <p:cNvSpPr/>
            <p:nvPr/>
          </p:nvSpPr>
          <p:spPr>
            <a:xfrm>
              <a:off x="2260316" y="4398963"/>
              <a:ext cx="1027416" cy="686745"/>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LP</a:t>
              </a:r>
              <a:endParaRPr lang="en-IN" dirty="0"/>
            </a:p>
          </p:txBody>
        </p:sp>
      </p:grpSp>
    </p:spTree>
    <p:extLst>
      <p:ext uri="{BB962C8B-B14F-4D97-AF65-F5344CB8AC3E}">
        <p14:creationId xmlns:p14="http://schemas.microsoft.com/office/powerpoint/2010/main" val="2652182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DEA1D-1E7A-4FEF-A76E-5085DB0559D9}"/>
              </a:ext>
            </a:extLst>
          </p:cNvPr>
          <p:cNvSpPr>
            <a:spLocks noGrp="1"/>
          </p:cNvSpPr>
          <p:nvPr>
            <p:ph type="title"/>
          </p:nvPr>
        </p:nvSpPr>
        <p:spPr>
          <a:xfrm>
            <a:off x="0" y="0"/>
            <a:ext cx="10058400" cy="702305"/>
          </a:xfrm>
        </p:spPr>
        <p:txBody>
          <a:bodyPr>
            <a:normAutofit fontScale="90000"/>
          </a:bodyPr>
          <a:lstStyle/>
          <a:p>
            <a:pPr algn="ctr"/>
            <a:r>
              <a:rPr lang="en-IN" dirty="0"/>
              <a:t>Evaluating Language Models</a:t>
            </a:r>
          </a:p>
        </p:txBody>
      </p:sp>
      <p:graphicFrame>
        <p:nvGraphicFramePr>
          <p:cNvPr id="4" name="Content Placeholder 3">
            <a:extLst>
              <a:ext uri="{FF2B5EF4-FFF2-40B4-BE49-F238E27FC236}">
                <a16:creationId xmlns:a16="http://schemas.microsoft.com/office/drawing/2014/main" id="{29CF5120-572F-4BAB-8A66-89C7BC636A3C}"/>
              </a:ext>
            </a:extLst>
          </p:cNvPr>
          <p:cNvGraphicFramePr>
            <a:graphicFrameLocks noGrp="1"/>
          </p:cNvGraphicFramePr>
          <p:nvPr>
            <p:ph idx="1"/>
            <p:extLst>
              <p:ext uri="{D42A27DB-BD31-4B8C-83A1-F6EECF244321}">
                <p14:modId xmlns:p14="http://schemas.microsoft.com/office/powerpoint/2010/main" val="1451129899"/>
              </p:ext>
            </p:extLst>
          </p:nvPr>
        </p:nvGraphicFramePr>
        <p:xfrm>
          <a:off x="523904" y="623526"/>
          <a:ext cx="10058400" cy="37607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croll: Horizontal 4">
            <a:extLst>
              <a:ext uri="{FF2B5EF4-FFF2-40B4-BE49-F238E27FC236}">
                <a16:creationId xmlns:a16="http://schemas.microsoft.com/office/drawing/2014/main" id="{B147C41E-D682-4E8C-9D84-DC880A8C808D}"/>
              </a:ext>
            </a:extLst>
          </p:cNvPr>
          <p:cNvSpPr/>
          <p:nvPr/>
        </p:nvSpPr>
        <p:spPr>
          <a:xfrm>
            <a:off x="552214" y="4007797"/>
            <a:ext cx="11001983" cy="2645923"/>
          </a:xfrm>
          <a:prstGeom prst="horizontalScroll">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tric for Intrinsic Evaluation</a:t>
            </a:r>
          </a:p>
          <a:p>
            <a:pPr algn="ctr"/>
            <a:r>
              <a:rPr lang="en-US" dirty="0"/>
              <a:t>The perplexity (sometimes called PP for short) of a language model on a test set is the inverse probability of the test set, normalized by the number of words. Perplexity is the  weighted average branching factor of a language. The branching factor of a language is the number of possible next words that can follow any word</a:t>
            </a:r>
          </a:p>
          <a:p>
            <a:pPr algn="ctr"/>
            <a:endParaRPr lang="en-IN" dirty="0"/>
          </a:p>
        </p:txBody>
      </p:sp>
      <p:pic>
        <p:nvPicPr>
          <p:cNvPr id="9" name="Picture 8">
            <a:extLst>
              <a:ext uri="{FF2B5EF4-FFF2-40B4-BE49-F238E27FC236}">
                <a16:creationId xmlns:a16="http://schemas.microsoft.com/office/drawing/2014/main" id="{077EC49B-FD03-4D96-9F2E-01929058BA86}"/>
              </a:ext>
            </a:extLst>
          </p:cNvPr>
          <p:cNvPicPr>
            <a:picLocks noChangeAspect="1"/>
          </p:cNvPicPr>
          <p:nvPr/>
        </p:nvPicPr>
        <p:blipFill>
          <a:blip r:embed="rId7"/>
          <a:stretch>
            <a:fillRect/>
          </a:stretch>
        </p:blipFill>
        <p:spPr>
          <a:xfrm>
            <a:off x="4238124" y="5739242"/>
            <a:ext cx="3699646" cy="574010"/>
          </a:xfrm>
          <a:prstGeom prst="rect">
            <a:avLst/>
          </a:prstGeom>
        </p:spPr>
      </p:pic>
    </p:spTree>
    <p:extLst>
      <p:ext uri="{BB962C8B-B14F-4D97-AF65-F5344CB8AC3E}">
        <p14:creationId xmlns:p14="http://schemas.microsoft.com/office/powerpoint/2010/main" val="9444462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B2D76-4AF4-44C5-AC72-A2F9E088EF6D}"/>
              </a:ext>
            </a:extLst>
          </p:cNvPr>
          <p:cNvSpPr>
            <a:spLocks noGrp="1"/>
          </p:cNvSpPr>
          <p:nvPr>
            <p:ph type="title"/>
          </p:nvPr>
        </p:nvSpPr>
        <p:spPr>
          <a:xfrm>
            <a:off x="163424" y="77821"/>
            <a:ext cx="10058400" cy="702305"/>
          </a:xfrm>
        </p:spPr>
        <p:txBody>
          <a:bodyPr>
            <a:normAutofit fontScale="90000"/>
          </a:bodyPr>
          <a:lstStyle/>
          <a:p>
            <a:r>
              <a:rPr lang="en-IN" dirty="0"/>
              <a:t>Estimating the Parameters :Sampling </a:t>
            </a:r>
          </a:p>
        </p:txBody>
      </p:sp>
      <p:sp>
        <p:nvSpPr>
          <p:cNvPr id="3" name="Content Placeholder 2">
            <a:extLst>
              <a:ext uri="{FF2B5EF4-FFF2-40B4-BE49-F238E27FC236}">
                <a16:creationId xmlns:a16="http://schemas.microsoft.com/office/drawing/2014/main" id="{B86B7C11-7735-4F0B-885A-03B9001613D7}"/>
              </a:ext>
            </a:extLst>
          </p:cNvPr>
          <p:cNvSpPr>
            <a:spLocks noGrp="1"/>
          </p:cNvSpPr>
          <p:nvPr>
            <p:ph idx="1"/>
          </p:nvPr>
        </p:nvSpPr>
        <p:spPr>
          <a:xfrm>
            <a:off x="571985" y="1077069"/>
            <a:ext cx="11237393" cy="5265365"/>
          </a:xfrm>
        </p:spPr>
        <p:txBody>
          <a:bodyPr/>
          <a:lstStyle/>
          <a:p>
            <a:r>
              <a:rPr lang="en-US" dirty="0"/>
              <a:t>Sampling from a distribution means to choose random points according to their likelihood.</a:t>
            </a:r>
            <a:endParaRPr lang="en-IN" dirty="0"/>
          </a:p>
        </p:txBody>
      </p:sp>
      <p:pic>
        <p:nvPicPr>
          <p:cNvPr id="5" name="Picture 4">
            <a:extLst>
              <a:ext uri="{FF2B5EF4-FFF2-40B4-BE49-F238E27FC236}">
                <a16:creationId xmlns:a16="http://schemas.microsoft.com/office/drawing/2014/main" id="{8F2B9179-06EA-4C25-A6ED-29F16FF07013}"/>
              </a:ext>
            </a:extLst>
          </p:cNvPr>
          <p:cNvPicPr>
            <a:picLocks noChangeAspect="1"/>
          </p:cNvPicPr>
          <p:nvPr/>
        </p:nvPicPr>
        <p:blipFill>
          <a:blip r:embed="rId2"/>
          <a:stretch>
            <a:fillRect/>
          </a:stretch>
        </p:blipFill>
        <p:spPr>
          <a:xfrm>
            <a:off x="2218123" y="1979861"/>
            <a:ext cx="6477561" cy="1729890"/>
          </a:xfrm>
          <a:prstGeom prst="rect">
            <a:avLst/>
          </a:prstGeom>
        </p:spPr>
      </p:pic>
      <p:sp>
        <p:nvSpPr>
          <p:cNvPr id="7" name="TextBox 6">
            <a:extLst>
              <a:ext uri="{FF2B5EF4-FFF2-40B4-BE49-F238E27FC236}">
                <a16:creationId xmlns:a16="http://schemas.microsoft.com/office/drawing/2014/main" id="{80E00591-8ED7-4DB8-8130-08AC21DDE779}"/>
              </a:ext>
            </a:extLst>
          </p:cNvPr>
          <p:cNvSpPr txBox="1"/>
          <p:nvPr/>
        </p:nvSpPr>
        <p:spPr>
          <a:xfrm>
            <a:off x="571984" y="3829430"/>
            <a:ext cx="11237393" cy="2246769"/>
          </a:xfrm>
          <a:prstGeom prst="rect">
            <a:avLst/>
          </a:prstGeom>
          <a:noFill/>
        </p:spPr>
        <p:txBody>
          <a:bodyPr wrap="square">
            <a:spAutoFit/>
          </a:bodyPr>
          <a:lstStyle/>
          <a:p>
            <a:pPr marL="285750" indent="-285750">
              <a:buFont typeface="Arial" panose="020B0604020202020204" pitchFamily="34" charset="0"/>
              <a:buChar char="•"/>
            </a:pPr>
            <a:r>
              <a:rPr lang="en-US" sz="2000" dirty="0"/>
              <a:t>A visualization of the sampling distribution for sampling sentences by repeatedly sampling unigrams. </a:t>
            </a:r>
          </a:p>
          <a:p>
            <a:pPr marL="285750" indent="-285750">
              <a:buFont typeface="Arial" panose="020B0604020202020204" pitchFamily="34" charset="0"/>
              <a:buChar char="•"/>
            </a:pPr>
            <a:r>
              <a:rPr lang="en-US" sz="2000" dirty="0"/>
              <a:t>The blue bar represents the frequency of each word. </a:t>
            </a:r>
          </a:p>
          <a:p>
            <a:pPr marL="285750" indent="-285750">
              <a:buFont typeface="Arial" panose="020B0604020202020204" pitchFamily="34" charset="0"/>
              <a:buChar char="•"/>
            </a:pPr>
            <a:r>
              <a:rPr lang="en-US" sz="2000" dirty="0"/>
              <a:t>The number line shows the cumulative probabilities.</a:t>
            </a:r>
          </a:p>
          <a:p>
            <a:pPr marL="285750" indent="-285750">
              <a:buFont typeface="Arial" panose="020B0604020202020204" pitchFamily="34" charset="0"/>
              <a:buChar char="•"/>
            </a:pPr>
            <a:r>
              <a:rPr lang="en-US" sz="2000" dirty="0"/>
              <a:t> If we choose a random number between 0 and 1, it will fall in an interval corresponding to some word. </a:t>
            </a:r>
          </a:p>
          <a:p>
            <a:pPr marL="285750" indent="-285750">
              <a:buFont typeface="Arial" panose="020B0604020202020204" pitchFamily="34" charset="0"/>
              <a:buChar char="•"/>
            </a:pPr>
            <a:r>
              <a:rPr lang="en-US" sz="2000" dirty="0"/>
              <a:t>The expectation for the random number to fall in the larger intervals of one of the frequent words (the, of, a) is much higher than in the smaller interval of one of the rare words (polyphonic).</a:t>
            </a:r>
            <a:endParaRPr lang="en-IN" sz="2000" dirty="0"/>
          </a:p>
        </p:txBody>
      </p:sp>
    </p:spTree>
    <p:extLst>
      <p:ext uri="{BB962C8B-B14F-4D97-AF65-F5344CB8AC3E}">
        <p14:creationId xmlns:p14="http://schemas.microsoft.com/office/powerpoint/2010/main" val="32662591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B2D76-4AF4-44C5-AC72-A2F9E088EF6D}"/>
              </a:ext>
            </a:extLst>
          </p:cNvPr>
          <p:cNvSpPr>
            <a:spLocks noGrp="1"/>
          </p:cNvSpPr>
          <p:nvPr>
            <p:ph type="title"/>
          </p:nvPr>
        </p:nvSpPr>
        <p:spPr>
          <a:xfrm>
            <a:off x="163424" y="77821"/>
            <a:ext cx="11091478" cy="733013"/>
          </a:xfrm>
        </p:spPr>
        <p:txBody>
          <a:bodyPr>
            <a:normAutofit fontScale="90000"/>
          </a:bodyPr>
          <a:lstStyle/>
          <a:p>
            <a:r>
              <a:rPr lang="en-IN" dirty="0"/>
              <a:t>Estimating the Parameters :Smoothing</a:t>
            </a:r>
          </a:p>
        </p:txBody>
      </p:sp>
      <p:sp>
        <p:nvSpPr>
          <p:cNvPr id="3" name="Content Placeholder 2">
            <a:extLst>
              <a:ext uri="{FF2B5EF4-FFF2-40B4-BE49-F238E27FC236}">
                <a16:creationId xmlns:a16="http://schemas.microsoft.com/office/drawing/2014/main" id="{B86B7C11-7735-4F0B-885A-03B9001613D7}"/>
              </a:ext>
            </a:extLst>
          </p:cNvPr>
          <p:cNvSpPr>
            <a:spLocks noGrp="1"/>
          </p:cNvSpPr>
          <p:nvPr>
            <p:ph idx="1"/>
          </p:nvPr>
        </p:nvSpPr>
        <p:spPr>
          <a:xfrm>
            <a:off x="163425" y="1077070"/>
            <a:ext cx="11714048" cy="5352914"/>
          </a:xfrm>
        </p:spPr>
        <p:txBody>
          <a:bodyPr/>
          <a:lstStyle/>
          <a:p>
            <a:r>
              <a:rPr lang="en-IN" dirty="0"/>
              <a:t>Most frequent events probability are removed from the language models to avoid zero probability prediction on unseen data is called smoothing or discounting. </a:t>
            </a:r>
          </a:p>
        </p:txBody>
      </p:sp>
      <p:graphicFrame>
        <p:nvGraphicFramePr>
          <p:cNvPr id="4" name="Diagram 3">
            <a:extLst>
              <a:ext uri="{FF2B5EF4-FFF2-40B4-BE49-F238E27FC236}">
                <a16:creationId xmlns:a16="http://schemas.microsoft.com/office/drawing/2014/main" id="{A94FE555-703F-4502-AF1F-28CD47846BAC}"/>
              </a:ext>
            </a:extLst>
          </p:cNvPr>
          <p:cNvGraphicFramePr/>
          <p:nvPr>
            <p:extLst>
              <p:ext uri="{D42A27DB-BD31-4B8C-83A1-F6EECF244321}">
                <p14:modId xmlns:p14="http://schemas.microsoft.com/office/powerpoint/2010/main" val="4000641010"/>
              </p:ext>
            </p:extLst>
          </p:nvPr>
        </p:nvGraphicFramePr>
        <p:xfrm>
          <a:off x="1749897" y="2178995"/>
          <a:ext cx="9816289" cy="39883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4" name="Group 13">
            <a:extLst>
              <a:ext uri="{FF2B5EF4-FFF2-40B4-BE49-F238E27FC236}">
                <a16:creationId xmlns:a16="http://schemas.microsoft.com/office/drawing/2014/main" id="{C6431350-397A-4954-B40E-5F837025E512}"/>
              </a:ext>
            </a:extLst>
          </p:cNvPr>
          <p:cNvGrpSpPr/>
          <p:nvPr/>
        </p:nvGrpSpPr>
        <p:grpSpPr>
          <a:xfrm>
            <a:off x="1972060" y="5150752"/>
            <a:ext cx="5634968" cy="762585"/>
            <a:chOff x="1699686" y="5126477"/>
            <a:chExt cx="5634968" cy="762585"/>
          </a:xfrm>
        </p:grpSpPr>
        <p:pic>
          <p:nvPicPr>
            <p:cNvPr id="8" name="Picture 7">
              <a:extLst>
                <a:ext uri="{FF2B5EF4-FFF2-40B4-BE49-F238E27FC236}">
                  <a16:creationId xmlns:a16="http://schemas.microsoft.com/office/drawing/2014/main" id="{0E95E406-4272-478E-97D5-47A490E868E9}"/>
                </a:ext>
              </a:extLst>
            </p:cNvPr>
            <p:cNvPicPr>
              <a:picLocks noChangeAspect="1"/>
            </p:cNvPicPr>
            <p:nvPr/>
          </p:nvPicPr>
          <p:blipFill>
            <a:blip r:embed="rId7"/>
            <a:stretch>
              <a:fillRect/>
            </a:stretch>
          </p:blipFill>
          <p:spPr>
            <a:xfrm>
              <a:off x="1699686" y="5126477"/>
              <a:ext cx="1838818" cy="499939"/>
            </a:xfrm>
            <a:prstGeom prst="rect">
              <a:avLst/>
            </a:prstGeom>
          </p:spPr>
        </p:pic>
        <p:pic>
          <p:nvPicPr>
            <p:cNvPr id="10" name="Picture 9">
              <a:extLst>
                <a:ext uri="{FF2B5EF4-FFF2-40B4-BE49-F238E27FC236}">
                  <a16:creationId xmlns:a16="http://schemas.microsoft.com/office/drawing/2014/main" id="{B2ACBDCD-D638-4601-96F9-E2190537D2BE}"/>
                </a:ext>
              </a:extLst>
            </p:cNvPr>
            <p:cNvPicPr>
              <a:picLocks noChangeAspect="1"/>
            </p:cNvPicPr>
            <p:nvPr/>
          </p:nvPicPr>
          <p:blipFill>
            <a:blip r:embed="rId8"/>
            <a:stretch>
              <a:fillRect/>
            </a:stretch>
          </p:blipFill>
          <p:spPr>
            <a:xfrm>
              <a:off x="3538504" y="5126477"/>
              <a:ext cx="2557496" cy="762585"/>
            </a:xfrm>
            <a:prstGeom prst="rect">
              <a:avLst/>
            </a:prstGeom>
          </p:spPr>
        </p:pic>
        <p:pic>
          <p:nvPicPr>
            <p:cNvPr id="12" name="Picture 11">
              <a:extLst>
                <a:ext uri="{FF2B5EF4-FFF2-40B4-BE49-F238E27FC236}">
                  <a16:creationId xmlns:a16="http://schemas.microsoft.com/office/drawing/2014/main" id="{E4AB6AF8-4A75-43D6-BBC0-58A1DCE789CC}"/>
                </a:ext>
              </a:extLst>
            </p:cNvPr>
            <p:cNvPicPr>
              <a:picLocks noChangeAspect="1"/>
            </p:cNvPicPr>
            <p:nvPr/>
          </p:nvPicPr>
          <p:blipFill>
            <a:blip r:embed="rId9"/>
            <a:stretch>
              <a:fillRect/>
            </a:stretch>
          </p:blipFill>
          <p:spPr>
            <a:xfrm>
              <a:off x="6146211" y="5248816"/>
              <a:ext cx="1188443" cy="377600"/>
            </a:xfrm>
            <a:prstGeom prst="rect">
              <a:avLst/>
            </a:prstGeom>
          </p:spPr>
        </p:pic>
      </p:grpSp>
    </p:spTree>
    <p:extLst>
      <p:ext uri="{BB962C8B-B14F-4D97-AF65-F5344CB8AC3E}">
        <p14:creationId xmlns:p14="http://schemas.microsoft.com/office/powerpoint/2010/main" val="20044719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16A0E3C-60E6-4F39-BC55-5F7C224E1F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12" name="Straight Connector 11">
            <a:extLst>
              <a:ext uri="{FF2B5EF4-FFF2-40B4-BE49-F238E27FC236}">
                <a16:creationId xmlns:a16="http://schemas.microsoft.com/office/drawing/2014/main" id="{C5025DAC-8B93-4160-B017-3A274A5828C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844E128-FF69-4E9F-8327-6B504B3C5A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85"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 name="Title 3">
            <a:extLst>
              <a:ext uri="{FF2B5EF4-FFF2-40B4-BE49-F238E27FC236}">
                <a16:creationId xmlns:a16="http://schemas.microsoft.com/office/drawing/2014/main" id="{12B47FFF-EA35-9623-2DA4-8018D66C3325}"/>
              </a:ext>
            </a:extLst>
          </p:cNvPr>
          <p:cNvSpPr>
            <a:spLocks noGrp="1"/>
          </p:cNvSpPr>
          <p:nvPr>
            <p:ph type="title"/>
          </p:nvPr>
        </p:nvSpPr>
        <p:spPr>
          <a:xfrm>
            <a:off x="5116783" y="516835"/>
            <a:ext cx="5977937" cy="1666501"/>
          </a:xfrm>
        </p:spPr>
        <p:txBody>
          <a:bodyPr vert="horz" lIns="91440" tIns="45720" rIns="91440" bIns="45720" rtlCol="0" anchor="b">
            <a:normAutofit/>
          </a:bodyPr>
          <a:lstStyle/>
          <a:p>
            <a:r>
              <a:rPr lang="en-US" sz="4000" dirty="0"/>
              <a:t>Text Preprocessing</a:t>
            </a:r>
          </a:p>
        </p:txBody>
      </p:sp>
      <p:pic>
        <p:nvPicPr>
          <p:cNvPr id="6" name="Picture 5" descr="Computer script on a screen">
            <a:extLst>
              <a:ext uri="{FF2B5EF4-FFF2-40B4-BE49-F238E27FC236}">
                <a16:creationId xmlns:a16="http://schemas.microsoft.com/office/drawing/2014/main" id="{A4CCA8A3-4623-210A-7E74-1AB6896F1DF7}"/>
              </a:ext>
            </a:extLst>
          </p:cNvPr>
          <p:cNvPicPr>
            <a:picLocks noChangeAspect="1"/>
          </p:cNvPicPr>
          <p:nvPr/>
        </p:nvPicPr>
        <p:blipFill rotWithShape="1">
          <a:blip r:embed="rId2"/>
          <a:srcRect l="7824" r="47597" b="-1"/>
          <a:stretch/>
        </p:blipFill>
        <p:spPr>
          <a:xfrm>
            <a:off x="20" y="10"/>
            <a:ext cx="4580077" cy="6857990"/>
          </a:xfrm>
          <a:prstGeom prst="rect">
            <a:avLst/>
          </a:prstGeom>
        </p:spPr>
      </p:pic>
      <p:cxnSp>
        <p:nvCxnSpPr>
          <p:cNvPr id="16" name="Straight Connector 15">
            <a:extLst>
              <a:ext uri="{FF2B5EF4-FFF2-40B4-BE49-F238E27FC236}">
                <a16:creationId xmlns:a16="http://schemas.microsoft.com/office/drawing/2014/main" id="{055CEADF-09EA-423C-8C45-F94AF44D5AF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00864" y="2353592"/>
            <a:ext cx="56692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6FE9D7-C4CF-75B1-649A-CEC57351F24C}"/>
              </a:ext>
            </a:extLst>
          </p:cNvPr>
          <p:cNvSpPr>
            <a:spLocks noGrp="1"/>
          </p:cNvSpPr>
          <p:nvPr>
            <p:ph idx="1"/>
          </p:nvPr>
        </p:nvSpPr>
        <p:spPr>
          <a:xfrm>
            <a:off x="5116783" y="2422629"/>
            <a:ext cx="5977938" cy="4024832"/>
          </a:xfrm>
        </p:spPr>
        <p:txBody>
          <a:bodyPr vert="horz" lIns="0" tIns="45720" rIns="0" bIns="45720" rtlCol="0">
            <a:noAutofit/>
          </a:bodyPr>
          <a:lstStyle/>
          <a:p>
            <a:pPr>
              <a:lnSpc>
                <a:spcPct val="100000"/>
              </a:lnSpc>
            </a:pPr>
            <a:r>
              <a:rPr lang="en-US" sz="2000" dirty="0">
                <a:solidFill>
                  <a:srgbClr val="FFFFFF"/>
                </a:solidFill>
              </a:rPr>
              <a:t> Text Normalization Techniques</a:t>
            </a:r>
          </a:p>
          <a:p>
            <a:pPr lvl="1"/>
            <a:r>
              <a:rPr lang="en-US" sz="2000" dirty="0">
                <a:solidFill>
                  <a:srgbClr val="FFFFFF"/>
                </a:solidFill>
              </a:rPr>
              <a:t>Case Folding</a:t>
            </a:r>
          </a:p>
          <a:p>
            <a:pPr lvl="1"/>
            <a:r>
              <a:rPr lang="en-US" sz="2000" dirty="0">
                <a:solidFill>
                  <a:srgbClr val="FFFFFF"/>
                </a:solidFill>
              </a:rPr>
              <a:t>Noise Removal</a:t>
            </a:r>
          </a:p>
          <a:p>
            <a:pPr lvl="1"/>
            <a:r>
              <a:rPr lang="en-US" sz="2000" dirty="0">
                <a:solidFill>
                  <a:srgbClr val="FFFFFF"/>
                </a:solidFill>
              </a:rPr>
              <a:t>Punctuation Removal</a:t>
            </a:r>
          </a:p>
          <a:p>
            <a:pPr lvl="1"/>
            <a:r>
              <a:rPr lang="en-US" sz="2000" dirty="0">
                <a:solidFill>
                  <a:srgbClr val="FFFFFF"/>
                </a:solidFill>
              </a:rPr>
              <a:t>Tokenization</a:t>
            </a:r>
          </a:p>
          <a:p>
            <a:pPr lvl="1"/>
            <a:r>
              <a:rPr lang="en-US" sz="2000" dirty="0">
                <a:solidFill>
                  <a:srgbClr val="FFFFFF"/>
                </a:solidFill>
              </a:rPr>
              <a:t>Stemming and Lemmatization</a:t>
            </a:r>
          </a:p>
          <a:p>
            <a:pPr lvl="1"/>
            <a:r>
              <a:rPr lang="en-US" sz="2000" dirty="0">
                <a:solidFill>
                  <a:srgbClr val="FFFFFF"/>
                </a:solidFill>
              </a:rPr>
              <a:t>POS Tagging</a:t>
            </a:r>
          </a:p>
          <a:p>
            <a:pPr>
              <a:lnSpc>
                <a:spcPct val="100000"/>
              </a:lnSpc>
            </a:pPr>
            <a:r>
              <a:rPr lang="en-US" sz="2000" dirty="0">
                <a:solidFill>
                  <a:srgbClr val="FFFFFF"/>
                </a:solidFill>
              </a:rPr>
              <a:t>Text Vectorization  Techniques</a:t>
            </a:r>
          </a:p>
          <a:p>
            <a:pPr lvl="1"/>
            <a:r>
              <a:rPr lang="en-US" sz="2000" dirty="0">
                <a:solidFill>
                  <a:srgbClr val="FFFFFF"/>
                </a:solidFill>
              </a:rPr>
              <a:t>Bags of Words( Count) Vectorization</a:t>
            </a:r>
          </a:p>
          <a:p>
            <a:pPr lvl="1"/>
            <a:r>
              <a:rPr lang="en-US" sz="2000" dirty="0">
                <a:solidFill>
                  <a:srgbClr val="FFFFFF"/>
                </a:solidFill>
              </a:rPr>
              <a:t>TF-IDF Vectorization</a:t>
            </a:r>
          </a:p>
          <a:p>
            <a:pPr lvl="1"/>
            <a:r>
              <a:rPr lang="en-US" sz="2000" dirty="0">
                <a:solidFill>
                  <a:srgbClr val="FFFFFF"/>
                </a:solidFill>
              </a:rPr>
              <a:t>Word Embeddings</a:t>
            </a:r>
          </a:p>
        </p:txBody>
      </p:sp>
    </p:spTree>
    <p:extLst>
      <p:ext uri="{BB962C8B-B14F-4D97-AF65-F5344CB8AC3E}">
        <p14:creationId xmlns:p14="http://schemas.microsoft.com/office/powerpoint/2010/main" val="599776097"/>
      </p:ext>
    </p:extLst>
  </p:cSld>
  <p:clrMapOvr>
    <a:overrideClrMapping bg1="dk1" tx1="lt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85517-3A9F-3C13-9947-3461AAF4CA80}"/>
              </a:ext>
            </a:extLst>
          </p:cNvPr>
          <p:cNvSpPr>
            <a:spLocks noGrp="1"/>
          </p:cNvSpPr>
          <p:nvPr>
            <p:ph type="title"/>
          </p:nvPr>
        </p:nvSpPr>
        <p:spPr>
          <a:xfrm>
            <a:off x="899810" y="321011"/>
            <a:ext cx="9905998" cy="359924"/>
          </a:xfrm>
        </p:spPr>
        <p:txBody>
          <a:bodyPr>
            <a:normAutofit fontScale="90000"/>
          </a:bodyPr>
          <a:lstStyle/>
          <a:p>
            <a:r>
              <a:rPr lang="en-US" dirty="0"/>
              <a:t>Text Pre Processing</a:t>
            </a:r>
            <a:endParaRPr lang="en-IN" dirty="0"/>
          </a:p>
        </p:txBody>
      </p:sp>
      <p:graphicFrame>
        <p:nvGraphicFramePr>
          <p:cNvPr id="4" name="Content Placeholder 3">
            <a:extLst>
              <a:ext uri="{FF2B5EF4-FFF2-40B4-BE49-F238E27FC236}">
                <a16:creationId xmlns:a16="http://schemas.microsoft.com/office/drawing/2014/main" id="{F6B61C9C-DDC3-4711-383A-0080D9E2523A}"/>
              </a:ext>
            </a:extLst>
          </p:cNvPr>
          <p:cNvGraphicFramePr>
            <a:graphicFrameLocks noGrp="1"/>
          </p:cNvGraphicFramePr>
          <p:nvPr>
            <p:ph idx="1"/>
          </p:nvPr>
        </p:nvGraphicFramePr>
        <p:xfrm>
          <a:off x="136187" y="680935"/>
          <a:ext cx="10911226" cy="60895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99487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6379C-2A61-0EC0-DE0E-3DEDBB2C0E0E}"/>
              </a:ext>
            </a:extLst>
          </p:cNvPr>
          <p:cNvSpPr>
            <a:spLocks noGrp="1"/>
          </p:cNvSpPr>
          <p:nvPr>
            <p:ph type="title"/>
          </p:nvPr>
        </p:nvSpPr>
        <p:spPr>
          <a:xfrm>
            <a:off x="907950" y="284534"/>
            <a:ext cx="9905998" cy="528651"/>
          </a:xfrm>
        </p:spPr>
        <p:txBody>
          <a:bodyPr>
            <a:normAutofit fontScale="90000"/>
          </a:bodyPr>
          <a:lstStyle/>
          <a:p>
            <a:r>
              <a:rPr lang="en-US" dirty="0"/>
              <a:t>Bags of Words</a:t>
            </a:r>
            <a:endParaRPr lang="en-IN" dirty="0"/>
          </a:p>
        </p:txBody>
      </p:sp>
      <p:sp>
        <p:nvSpPr>
          <p:cNvPr id="6" name="Content Placeholder 5">
            <a:extLst>
              <a:ext uri="{FF2B5EF4-FFF2-40B4-BE49-F238E27FC236}">
                <a16:creationId xmlns:a16="http://schemas.microsoft.com/office/drawing/2014/main" id="{3C845416-C2E6-0545-8441-4C78A39F334F}"/>
              </a:ext>
            </a:extLst>
          </p:cNvPr>
          <p:cNvSpPr>
            <a:spLocks noGrp="1"/>
          </p:cNvSpPr>
          <p:nvPr>
            <p:ph idx="1"/>
          </p:nvPr>
        </p:nvSpPr>
        <p:spPr>
          <a:xfrm>
            <a:off x="739302" y="976302"/>
            <a:ext cx="11089532" cy="3541714"/>
          </a:xfrm>
        </p:spPr>
        <p:txBody>
          <a:bodyPr/>
          <a:lstStyle/>
          <a:p>
            <a:pPr marL="0" indent="0">
              <a:buNone/>
            </a:pPr>
            <a:r>
              <a:rPr lang="en-US" dirty="0"/>
              <a:t>Text: “Bitty bought the butter but the butter was bitter so bitty throws the bitter butter out”</a:t>
            </a:r>
          </a:p>
          <a:p>
            <a:pPr marL="0" indent="0">
              <a:buNone/>
            </a:pPr>
            <a:r>
              <a:rPr lang="en-US" dirty="0"/>
              <a:t>Algo: tokenize and sort in ascending order</a:t>
            </a:r>
          </a:p>
          <a:p>
            <a:pPr marL="0" indent="0">
              <a:buNone/>
            </a:pPr>
            <a:r>
              <a:rPr lang="en-IN" dirty="0"/>
              <a:t>Bags of words [“bitty”, ”bitter”,”</a:t>
            </a:r>
            <a:r>
              <a:rPr lang="en-US" dirty="0"/>
              <a:t> bought”,</a:t>
            </a:r>
            <a:r>
              <a:rPr lang="en-IN" dirty="0"/>
              <a:t> ”but”, ”butter”, ”out”, ”so”, ”the”, ”throws”, “was”]</a:t>
            </a:r>
          </a:p>
        </p:txBody>
      </p:sp>
      <p:sp>
        <p:nvSpPr>
          <p:cNvPr id="9" name="TextBox 8">
            <a:extLst>
              <a:ext uri="{FF2B5EF4-FFF2-40B4-BE49-F238E27FC236}">
                <a16:creationId xmlns:a16="http://schemas.microsoft.com/office/drawing/2014/main" id="{DB2E0851-BB25-B18D-BFD5-B693CD60493F}"/>
              </a:ext>
            </a:extLst>
          </p:cNvPr>
          <p:cNvSpPr txBox="1"/>
          <p:nvPr/>
        </p:nvSpPr>
        <p:spPr>
          <a:xfrm>
            <a:off x="739301" y="5749047"/>
            <a:ext cx="11293814" cy="923330"/>
          </a:xfrm>
          <a:prstGeom prst="rect">
            <a:avLst/>
          </a:prstGeom>
          <a:noFill/>
        </p:spPr>
        <p:txBody>
          <a:bodyPr wrap="square" rtlCol="0">
            <a:spAutoFit/>
          </a:bodyPr>
          <a:lstStyle/>
          <a:p>
            <a:r>
              <a:rPr lang="en-US" b="0" i="0" dirty="0">
                <a:effectLst/>
                <a:latin typeface="Lato" panose="020F0502020204030203" pitchFamily="34" charset="0"/>
              </a:rPr>
              <a:t>An encoding </a:t>
            </a:r>
            <a:r>
              <a:rPr lang="en-US" dirty="0">
                <a:latin typeface="Lato" panose="020F0502020204030203" pitchFamily="34" charset="0"/>
              </a:rPr>
              <a:t>v</a:t>
            </a:r>
            <a:r>
              <a:rPr lang="en-US" b="0" i="0" dirty="0">
                <a:effectLst/>
                <a:latin typeface="Lato" panose="020F0502020204030203" pitchFamily="34" charset="0"/>
              </a:rPr>
              <a:t>ector </a:t>
            </a:r>
            <a:r>
              <a:rPr lang="en-US" dirty="0">
                <a:latin typeface="Lato" panose="020F0502020204030203" pitchFamily="34" charset="0"/>
              </a:rPr>
              <a:t>i</a:t>
            </a:r>
            <a:r>
              <a:rPr lang="en-US" b="0" i="0" dirty="0">
                <a:effectLst/>
                <a:latin typeface="Lato" panose="020F0502020204030203" pitchFamily="34" charset="0"/>
              </a:rPr>
              <a:t>s </a:t>
            </a:r>
            <a:r>
              <a:rPr lang="en-US" dirty="0">
                <a:latin typeface="Lato" panose="020F0502020204030203" pitchFamily="34" charset="0"/>
              </a:rPr>
              <a:t>t</a:t>
            </a:r>
            <a:r>
              <a:rPr lang="en-US" b="0" i="0" dirty="0">
                <a:effectLst/>
                <a:latin typeface="Lato" panose="020F0502020204030203" pitchFamily="34" charset="0"/>
              </a:rPr>
              <a:t>hus </a:t>
            </a:r>
            <a:r>
              <a:rPr lang="en-US" dirty="0">
                <a:latin typeface="Lato" panose="020F0502020204030203" pitchFamily="34" charset="0"/>
              </a:rPr>
              <a:t>r</a:t>
            </a:r>
            <a:r>
              <a:rPr lang="en-US" b="0" i="0" dirty="0">
                <a:effectLst/>
                <a:latin typeface="Lato" panose="020F0502020204030203" pitchFamily="34" charset="0"/>
              </a:rPr>
              <a:t>eturned </a:t>
            </a:r>
            <a:r>
              <a:rPr lang="en-US" dirty="0">
                <a:latin typeface="Lato" panose="020F0502020204030203" pitchFamily="34" charset="0"/>
              </a:rPr>
              <a:t>w</a:t>
            </a:r>
            <a:r>
              <a:rPr lang="en-US" b="0" i="0" dirty="0">
                <a:effectLst/>
                <a:latin typeface="Lato" panose="020F0502020204030203" pitchFamily="34" charset="0"/>
              </a:rPr>
              <a:t>ith </a:t>
            </a:r>
            <a:r>
              <a:rPr lang="en-US" dirty="0">
                <a:latin typeface="Lato" panose="020F0502020204030203" pitchFamily="34" charset="0"/>
              </a:rPr>
              <a:t>t</a:t>
            </a:r>
            <a:r>
              <a:rPr lang="en-US" b="0" i="0" dirty="0">
                <a:effectLst/>
                <a:latin typeface="Lato" panose="020F0502020204030203" pitchFamily="34" charset="0"/>
              </a:rPr>
              <a:t>he </a:t>
            </a:r>
            <a:r>
              <a:rPr lang="en-US" dirty="0">
                <a:latin typeface="Lato" panose="020F0502020204030203" pitchFamily="34" charset="0"/>
              </a:rPr>
              <a:t>l</a:t>
            </a:r>
            <a:r>
              <a:rPr lang="en-US" b="0" i="0" dirty="0">
                <a:effectLst/>
                <a:latin typeface="Lato" panose="020F0502020204030203" pitchFamily="34" charset="0"/>
              </a:rPr>
              <a:t>ength </a:t>
            </a:r>
            <a:r>
              <a:rPr lang="en-US" dirty="0">
                <a:latin typeface="Lato" panose="020F0502020204030203" pitchFamily="34" charset="0"/>
              </a:rPr>
              <a:t>o</a:t>
            </a:r>
            <a:r>
              <a:rPr lang="en-US" b="0" i="0" dirty="0">
                <a:effectLst/>
                <a:latin typeface="Lato" panose="020F0502020204030203" pitchFamily="34" charset="0"/>
              </a:rPr>
              <a:t>f </a:t>
            </a:r>
            <a:r>
              <a:rPr lang="en-US" dirty="0">
                <a:latin typeface="Lato" panose="020F0502020204030203" pitchFamily="34" charset="0"/>
              </a:rPr>
              <a:t>t</a:t>
            </a:r>
            <a:r>
              <a:rPr lang="en-US" b="0" i="0" dirty="0">
                <a:effectLst/>
                <a:latin typeface="Lato" panose="020F0502020204030203" pitchFamily="34" charset="0"/>
              </a:rPr>
              <a:t>he </a:t>
            </a:r>
            <a:r>
              <a:rPr lang="en-US" dirty="0">
                <a:latin typeface="Lato" panose="020F0502020204030203" pitchFamily="34" charset="0"/>
              </a:rPr>
              <a:t>e</a:t>
            </a:r>
            <a:r>
              <a:rPr lang="en-US" b="0" i="0" dirty="0">
                <a:effectLst/>
                <a:latin typeface="Lato" panose="020F0502020204030203" pitchFamily="34" charset="0"/>
              </a:rPr>
              <a:t>ntire </a:t>
            </a:r>
            <a:r>
              <a:rPr lang="en-US" dirty="0">
                <a:latin typeface="Lato" panose="020F0502020204030203" pitchFamily="34" charset="0"/>
              </a:rPr>
              <a:t>v</a:t>
            </a:r>
            <a:r>
              <a:rPr lang="en-US" b="0" i="0" dirty="0">
                <a:effectLst/>
                <a:latin typeface="Lato" panose="020F0502020204030203" pitchFamily="34" charset="0"/>
              </a:rPr>
              <a:t>ocabulary(All  unique Words or length of BOWS)  </a:t>
            </a:r>
          </a:p>
          <a:p>
            <a:r>
              <a:rPr lang="en-US" dirty="0">
                <a:latin typeface="Lato" panose="020F0502020204030203" pitchFamily="34" charset="0"/>
              </a:rPr>
              <a:t>a</a:t>
            </a:r>
            <a:r>
              <a:rPr lang="en-US" b="0" i="0" dirty="0">
                <a:effectLst/>
                <a:latin typeface="Lato" panose="020F0502020204030203" pitchFamily="34" charset="0"/>
              </a:rPr>
              <a:t>nd </a:t>
            </a:r>
            <a:r>
              <a:rPr lang="en-US" dirty="0">
                <a:latin typeface="Lato" panose="020F0502020204030203" pitchFamily="34" charset="0"/>
              </a:rPr>
              <a:t>i</a:t>
            </a:r>
            <a:r>
              <a:rPr lang="en-US" b="0" i="0" dirty="0">
                <a:effectLst/>
                <a:latin typeface="Lato" panose="020F0502020204030203" pitchFamily="34" charset="0"/>
              </a:rPr>
              <a:t>nteger </a:t>
            </a:r>
            <a:r>
              <a:rPr lang="en-US" dirty="0">
                <a:latin typeface="Lato" panose="020F0502020204030203" pitchFamily="34" charset="0"/>
              </a:rPr>
              <a:t>c</a:t>
            </a:r>
            <a:r>
              <a:rPr lang="en-US" b="0" i="0" dirty="0">
                <a:effectLst/>
                <a:latin typeface="Lato" panose="020F0502020204030203" pitchFamily="34" charset="0"/>
              </a:rPr>
              <a:t>ount </a:t>
            </a:r>
            <a:r>
              <a:rPr lang="en-US" dirty="0">
                <a:latin typeface="Lato" panose="020F0502020204030203" pitchFamily="34" charset="0"/>
              </a:rPr>
              <a:t>f</a:t>
            </a:r>
            <a:r>
              <a:rPr lang="en-US" b="0" i="0" dirty="0">
                <a:effectLst/>
                <a:latin typeface="Lato" panose="020F0502020204030203" pitchFamily="34" charset="0"/>
              </a:rPr>
              <a:t>or </a:t>
            </a:r>
            <a:r>
              <a:rPr lang="en-US" dirty="0">
                <a:latin typeface="Lato" panose="020F0502020204030203" pitchFamily="34" charset="0"/>
              </a:rPr>
              <a:t>t</a:t>
            </a:r>
            <a:r>
              <a:rPr lang="en-US" b="0" i="0" dirty="0">
                <a:effectLst/>
                <a:latin typeface="Lato" panose="020F0502020204030203" pitchFamily="34" charset="0"/>
              </a:rPr>
              <a:t>he </a:t>
            </a:r>
            <a:r>
              <a:rPr lang="en-US" dirty="0">
                <a:latin typeface="Lato" panose="020F0502020204030203" pitchFamily="34" charset="0"/>
              </a:rPr>
              <a:t>n</a:t>
            </a:r>
            <a:r>
              <a:rPr lang="en-US" b="0" i="0" dirty="0">
                <a:effectLst/>
                <a:latin typeface="Lato" panose="020F0502020204030203" pitchFamily="34" charset="0"/>
              </a:rPr>
              <a:t>umber </a:t>
            </a:r>
            <a:r>
              <a:rPr lang="en-US" dirty="0">
                <a:latin typeface="Lato" panose="020F0502020204030203" pitchFamily="34" charset="0"/>
              </a:rPr>
              <a:t>o</a:t>
            </a:r>
            <a:r>
              <a:rPr lang="en-US" b="0" i="0" dirty="0">
                <a:effectLst/>
                <a:latin typeface="Lato" panose="020F0502020204030203" pitchFamily="34" charset="0"/>
              </a:rPr>
              <a:t>f </a:t>
            </a:r>
            <a:r>
              <a:rPr lang="en-US" dirty="0">
                <a:latin typeface="Lato" panose="020F0502020204030203" pitchFamily="34" charset="0"/>
              </a:rPr>
              <a:t>t</a:t>
            </a:r>
            <a:r>
              <a:rPr lang="en-US" b="0" i="0" dirty="0">
                <a:effectLst/>
                <a:latin typeface="Lato" panose="020F0502020204030203" pitchFamily="34" charset="0"/>
              </a:rPr>
              <a:t>imes </a:t>
            </a:r>
            <a:r>
              <a:rPr lang="en-US" dirty="0">
                <a:latin typeface="Lato" panose="020F0502020204030203" pitchFamily="34" charset="0"/>
              </a:rPr>
              <a:t>e</a:t>
            </a:r>
            <a:r>
              <a:rPr lang="en-US" b="0" i="0" dirty="0">
                <a:effectLst/>
                <a:latin typeface="Lato" panose="020F0502020204030203" pitchFamily="34" charset="0"/>
              </a:rPr>
              <a:t>ach </a:t>
            </a:r>
            <a:r>
              <a:rPr lang="en-US" dirty="0">
                <a:latin typeface="Lato" panose="020F0502020204030203" pitchFamily="34" charset="0"/>
              </a:rPr>
              <a:t>w</a:t>
            </a:r>
            <a:r>
              <a:rPr lang="en-US" b="0" i="0" dirty="0">
                <a:effectLst/>
                <a:latin typeface="Lato" panose="020F0502020204030203" pitchFamily="34" charset="0"/>
              </a:rPr>
              <a:t>ord </a:t>
            </a:r>
            <a:r>
              <a:rPr lang="en-US" dirty="0">
                <a:latin typeface="Lato" panose="020F0502020204030203" pitchFamily="34" charset="0"/>
              </a:rPr>
              <a:t>o</a:t>
            </a:r>
            <a:r>
              <a:rPr lang="en-US" b="0" i="0" dirty="0">
                <a:effectLst/>
                <a:latin typeface="Lato" panose="020F0502020204030203" pitchFamily="34" charset="0"/>
              </a:rPr>
              <a:t>ccurs In the </a:t>
            </a:r>
            <a:r>
              <a:rPr lang="en-US" dirty="0">
                <a:latin typeface="Lato" panose="020F0502020204030203" pitchFamily="34" charset="0"/>
              </a:rPr>
              <a:t>s</a:t>
            </a:r>
            <a:r>
              <a:rPr lang="en-US" b="0" i="0" dirty="0">
                <a:effectLst/>
                <a:latin typeface="Lato" panose="020F0502020204030203" pitchFamily="34" charset="0"/>
              </a:rPr>
              <a:t>entence.</a:t>
            </a:r>
            <a:endParaRPr lang="en-IN" dirty="0"/>
          </a:p>
        </p:txBody>
      </p:sp>
      <p:graphicFrame>
        <p:nvGraphicFramePr>
          <p:cNvPr id="11" name="Table 11">
            <a:extLst>
              <a:ext uri="{FF2B5EF4-FFF2-40B4-BE49-F238E27FC236}">
                <a16:creationId xmlns:a16="http://schemas.microsoft.com/office/drawing/2014/main" id="{352CF374-CEF9-6AE2-1C46-1A41E2758C33}"/>
              </a:ext>
            </a:extLst>
          </p:cNvPr>
          <p:cNvGraphicFramePr>
            <a:graphicFrameLocks noGrp="1"/>
          </p:cNvGraphicFramePr>
          <p:nvPr/>
        </p:nvGraphicFramePr>
        <p:xfrm>
          <a:off x="1284052" y="3060700"/>
          <a:ext cx="8645317" cy="736600"/>
        </p:xfrm>
        <a:graphic>
          <a:graphicData uri="http://schemas.openxmlformats.org/drawingml/2006/table">
            <a:tbl>
              <a:tblPr firstRow="1" bandRow="1">
                <a:tableStyleId>{00A15C55-8517-42AA-B614-E9B94910E393}</a:tableStyleId>
              </a:tblPr>
              <a:tblGrid>
                <a:gridCol w="864532">
                  <a:extLst>
                    <a:ext uri="{9D8B030D-6E8A-4147-A177-3AD203B41FA5}">
                      <a16:colId xmlns:a16="http://schemas.microsoft.com/office/drawing/2014/main" val="46877858"/>
                    </a:ext>
                  </a:extLst>
                </a:gridCol>
                <a:gridCol w="727630">
                  <a:extLst>
                    <a:ext uri="{9D8B030D-6E8A-4147-A177-3AD203B41FA5}">
                      <a16:colId xmlns:a16="http://schemas.microsoft.com/office/drawing/2014/main" val="3802128537"/>
                    </a:ext>
                  </a:extLst>
                </a:gridCol>
                <a:gridCol w="1001433">
                  <a:extLst>
                    <a:ext uri="{9D8B030D-6E8A-4147-A177-3AD203B41FA5}">
                      <a16:colId xmlns:a16="http://schemas.microsoft.com/office/drawing/2014/main" val="3375533371"/>
                    </a:ext>
                  </a:extLst>
                </a:gridCol>
                <a:gridCol w="864532">
                  <a:extLst>
                    <a:ext uri="{9D8B030D-6E8A-4147-A177-3AD203B41FA5}">
                      <a16:colId xmlns:a16="http://schemas.microsoft.com/office/drawing/2014/main" val="3878983698"/>
                    </a:ext>
                  </a:extLst>
                </a:gridCol>
                <a:gridCol w="864532">
                  <a:extLst>
                    <a:ext uri="{9D8B030D-6E8A-4147-A177-3AD203B41FA5}">
                      <a16:colId xmlns:a16="http://schemas.microsoft.com/office/drawing/2014/main" val="2413644967"/>
                    </a:ext>
                  </a:extLst>
                </a:gridCol>
                <a:gridCol w="864532">
                  <a:extLst>
                    <a:ext uri="{9D8B030D-6E8A-4147-A177-3AD203B41FA5}">
                      <a16:colId xmlns:a16="http://schemas.microsoft.com/office/drawing/2014/main" val="3725756900"/>
                    </a:ext>
                  </a:extLst>
                </a:gridCol>
                <a:gridCol w="864532">
                  <a:extLst>
                    <a:ext uri="{9D8B030D-6E8A-4147-A177-3AD203B41FA5}">
                      <a16:colId xmlns:a16="http://schemas.microsoft.com/office/drawing/2014/main" val="3241526602"/>
                    </a:ext>
                  </a:extLst>
                </a:gridCol>
                <a:gridCol w="864532">
                  <a:extLst>
                    <a:ext uri="{9D8B030D-6E8A-4147-A177-3AD203B41FA5}">
                      <a16:colId xmlns:a16="http://schemas.microsoft.com/office/drawing/2014/main" val="3283248370"/>
                    </a:ext>
                  </a:extLst>
                </a:gridCol>
                <a:gridCol w="1059688">
                  <a:extLst>
                    <a:ext uri="{9D8B030D-6E8A-4147-A177-3AD203B41FA5}">
                      <a16:colId xmlns:a16="http://schemas.microsoft.com/office/drawing/2014/main" val="2596035206"/>
                    </a:ext>
                  </a:extLst>
                </a:gridCol>
                <a:gridCol w="669374">
                  <a:extLst>
                    <a:ext uri="{9D8B030D-6E8A-4147-A177-3AD203B41FA5}">
                      <a16:colId xmlns:a16="http://schemas.microsoft.com/office/drawing/2014/main" val="850890724"/>
                    </a:ext>
                  </a:extLst>
                </a:gridCol>
              </a:tblGrid>
              <a:tr h="0">
                <a:tc>
                  <a:txBody>
                    <a:bodyPr/>
                    <a:lstStyle/>
                    <a:p>
                      <a:r>
                        <a:rPr lang="en-IN" dirty="0"/>
                        <a:t>bitter</a:t>
                      </a:r>
                    </a:p>
                  </a:txBody>
                  <a:tcPr/>
                </a:tc>
                <a:tc>
                  <a:txBody>
                    <a:bodyPr/>
                    <a:lstStyle/>
                    <a:p>
                      <a:r>
                        <a:rPr lang="en-IN" dirty="0"/>
                        <a:t>bitty</a:t>
                      </a:r>
                    </a:p>
                  </a:txBody>
                  <a:tcPr/>
                </a:tc>
                <a:tc>
                  <a:txBody>
                    <a:bodyPr/>
                    <a:lstStyle/>
                    <a:p>
                      <a:r>
                        <a:rPr lang="en-IN" dirty="0"/>
                        <a:t>bought</a:t>
                      </a:r>
                    </a:p>
                  </a:txBody>
                  <a:tcPr/>
                </a:tc>
                <a:tc>
                  <a:txBody>
                    <a:bodyPr/>
                    <a:lstStyle/>
                    <a:p>
                      <a:r>
                        <a:rPr lang="en-IN" dirty="0"/>
                        <a:t>but</a:t>
                      </a:r>
                    </a:p>
                  </a:txBody>
                  <a:tcPr/>
                </a:tc>
                <a:tc>
                  <a:txBody>
                    <a:bodyPr/>
                    <a:lstStyle/>
                    <a:p>
                      <a:r>
                        <a:rPr lang="en-IN" dirty="0"/>
                        <a:t>butter</a:t>
                      </a:r>
                    </a:p>
                  </a:txBody>
                  <a:tcPr/>
                </a:tc>
                <a:tc>
                  <a:txBody>
                    <a:bodyPr/>
                    <a:lstStyle/>
                    <a:p>
                      <a:r>
                        <a:rPr lang="en-IN" dirty="0"/>
                        <a:t>out</a:t>
                      </a:r>
                    </a:p>
                  </a:txBody>
                  <a:tcPr/>
                </a:tc>
                <a:tc>
                  <a:txBody>
                    <a:bodyPr/>
                    <a:lstStyle/>
                    <a:p>
                      <a:r>
                        <a:rPr lang="en-IN" dirty="0"/>
                        <a:t>so</a:t>
                      </a:r>
                    </a:p>
                  </a:txBody>
                  <a:tcPr/>
                </a:tc>
                <a:tc>
                  <a:txBody>
                    <a:bodyPr/>
                    <a:lstStyle/>
                    <a:p>
                      <a:r>
                        <a:rPr lang="en-IN" dirty="0"/>
                        <a:t>the</a:t>
                      </a:r>
                    </a:p>
                  </a:txBody>
                  <a:tcPr/>
                </a:tc>
                <a:tc>
                  <a:txBody>
                    <a:bodyPr/>
                    <a:lstStyle/>
                    <a:p>
                      <a:r>
                        <a:rPr lang="en-IN" dirty="0"/>
                        <a:t>throws</a:t>
                      </a:r>
                    </a:p>
                  </a:txBody>
                  <a:tcPr/>
                </a:tc>
                <a:tc>
                  <a:txBody>
                    <a:bodyPr/>
                    <a:lstStyle/>
                    <a:p>
                      <a:r>
                        <a:rPr lang="en-IN" dirty="0"/>
                        <a:t>was</a:t>
                      </a:r>
                    </a:p>
                  </a:txBody>
                  <a:tcPr/>
                </a:tc>
                <a:extLst>
                  <a:ext uri="{0D108BD9-81ED-4DB2-BD59-A6C34878D82A}">
                    <a16:rowId xmlns:a16="http://schemas.microsoft.com/office/drawing/2014/main" val="2625984014"/>
                  </a:ext>
                </a:extLst>
              </a:tr>
              <a:tr h="370840">
                <a:tc>
                  <a:txBody>
                    <a:bodyPr/>
                    <a:lstStyle/>
                    <a:p>
                      <a:r>
                        <a:rPr lang="en-IN" dirty="0"/>
                        <a:t>2</a:t>
                      </a:r>
                    </a:p>
                  </a:txBody>
                  <a:tcPr/>
                </a:tc>
                <a:tc>
                  <a:txBody>
                    <a:bodyPr/>
                    <a:lstStyle/>
                    <a:p>
                      <a:r>
                        <a:rPr lang="en-IN" dirty="0"/>
                        <a:t>2</a:t>
                      </a:r>
                    </a:p>
                  </a:txBody>
                  <a:tcPr/>
                </a:tc>
                <a:tc>
                  <a:txBody>
                    <a:bodyPr/>
                    <a:lstStyle/>
                    <a:p>
                      <a:r>
                        <a:rPr lang="en-IN" dirty="0"/>
                        <a:t>1</a:t>
                      </a:r>
                    </a:p>
                  </a:txBody>
                  <a:tcPr/>
                </a:tc>
                <a:tc>
                  <a:txBody>
                    <a:bodyPr/>
                    <a:lstStyle/>
                    <a:p>
                      <a:r>
                        <a:rPr lang="en-IN" dirty="0"/>
                        <a:t>1</a:t>
                      </a:r>
                    </a:p>
                  </a:txBody>
                  <a:tcPr/>
                </a:tc>
                <a:tc>
                  <a:txBody>
                    <a:bodyPr/>
                    <a:lstStyle/>
                    <a:p>
                      <a:r>
                        <a:rPr lang="en-IN" dirty="0"/>
                        <a:t>3</a:t>
                      </a:r>
                    </a:p>
                  </a:txBody>
                  <a:tcPr/>
                </a:tc>
                <a:tc>
                  <a:txBody>
                    <a:bodyPr/>
                    <a:lstStyle/>
                    <a:p>
                      <a:r>
                        <a:rPr lang="en-IN" dirty="0"/>
                        <a:t>1</a:t>
                      </a:r>
                    </a:p>
                  </a:txBody>
                  <a:tcPr/>
                </a:tc>
                <a:tc>
                  <a:txBody>
                    <a:bodyPr/>
                    <a:lstStyle/>
                    <a:p>
                      <a:r>
                        <a:rPr lang="en-IN" dirty="0"/>
                        <a:t>1</a:t>
                      </a:r>
                    </a:p>
                  </a:txBody>
                  <a:tcPr/>
                </a:tc>
                <a:tc>
                  <a:txBody>
                    <a:bodyPr/>
                    <a:lstStyle/>
                    <a:p>
                      <a:r>
                        <a:rPr lang="en-IN" dirty="0"/>
                        <a:t>3</a:t>
                      </a:r>
                    </a:p>
                  </a:txBody>
                  <a:tcPr/>
                </a:tc>
                <a:tc>
                  <a:txBody>
                    <a:bodyPr/>
                    <a:lstStyle/>
                    <a:p>
                      <a:r>
                        <a:rPr lang="en-IN" dirty="0"/>
                        <a:t>1</a:t>
                      </a:r>
                    </a:p>
                  </a:txBody>
                  <a:tcPr/>
                </a:tc>
                <a:tc>
                  <a:txBody>
                    <a:bodyPr/>
                    <a:lstStyle/>
                    <a:p>
                      <a:r>
                        <a:rPr lang="en-IN" dirty="0"/>
                        <a:t>1</a:t>
                      </a:r>
                    </a:p>
                  </a:txBody>
                  <a:tcPr/>
                </a:tc>
                <a:extLst>
                  <a:ext uri="{0D108BD9-81ED-4DB2-BD59-A6C34878D82A}">
                    <a16:rowId xmlns:a16="http://schemas.microsoft.com/office/drawing/2014/main" val="1507300530"/>
                  </a:ext>
                </a:extLst>
              </a:tr>
            </a:tbl>
          </a:graphicData>
        </a:graphic>
      </p:graphicFrame>
      <p:graphicFrame>
        <p:nvGraphicFramePr>
          <p:cNvPr id="3" name="Table 11">
            <a:extLst>
              <a:ext uri="{FF2B5EF4-FFF2-40B4-BE49-F238E27FC236}">
                <a16:creationId xmlns:a16="http://schemas.microsoft.com/office/drawing/2014/main" id="{C9741B0F-C196-1B6B-2F06-D642215E8758}"/>
              </a:ext>
            </a:extLst>
          </p:cNvPr>
          <p:cNvGraphicFramePr>
            <a:graphicFrameLocks noGrp="1"/>
          </p:cNvGraphicFramePr>
          <p:nvPr/>
        </p:nvGraphicFramePr>
        <p:xfrm>
          <a:off x="1284052" y="4291731"/>
          <a:ext cx="8645317" cy="1175214"/>
        </p:xfrm>
        <a:graphic>
          <a:graphicData uri="http://schemas.openxmlformats.org/drawingml/2006/table">
            <a:tbl>
              <a:tblPr firstRow="1" bandRow="1">
                <a:tableStyleId>{327F97BB-C833-4FB7-BDE5-3F7075034690}</a:tableStyleId>
              </a:tblPr>
              <a:tblGrid>
                <a:gridCol w="785938">
                  <a:extLst>
                    <a:ext uri="{9D8B030D-6E8A-4147-A177-3AD203B41FA5}">
                      <a16:colId xmlns:a16="http://schemas.microsoft.com/office/drawing/2014/main" val="46877858"/>
                    </a:ext>
                  </a:extLst>
                </a:gridCol>
                <a:gridCol w="785938">
                  <a:extLst>
                    <a:ext uri="{9D8B030D-6E8A-4147-A177-3AD203B41FA5}">
                      <a16:colId xmlns:a16="http://schemas.microsoft.com/office/drawing/2014/main" val="204936576"/>
                    </a:ext>
                  </a:extLst>
                </a:gridCol>
                <a:gridCol w="661481">
                  <a:extLst>
                    <a:ext uri="{9D8B030D-6E8A-4147-A177-3AD203B41FA5}">
                      <a16:colId xmlns:a16="http://schemas.microsoft.com/office/drawing/2014/main" val="3802128537"/>
                    </a:ext>
                  </a:extLst>
                </a:gridCol>
                <a:gridCol w="910394">
                  <a:extLst>
                    <a:ext uri="{9D8B030D-6E8A-4147-A177-3AD203B41FA5}">
                      <a16:colId xmlns:a16="http://schemas.microsoft.com/office/drawing/2014/main" val="3375533371"/>
                    </a:ext>
                  </a:extLst>
                </a:gridCol>
                <a:gridCol w="785938">
                  <a:extLst>
                    <a:ext uri="{9D8B030D-6E8A-4147-A177-3AD203B41FA5}">
                      <a16:colId xmlns:a16="http://schemas.microsoft.com/office/drawing/2014/main" val="3878983698"/>
                    </a:ext>
                  </a:extLst>
                </a:gridCol>
                <a:gridCol w="785938">
                  <a:extLst>
                    <a:ext uri="{9D8B030D-6E8A-4147-A177-3AD203B41FA5}">
                      <a16:colId xmlns:a16="http://schemas.microsoft.com/office/drawing/2014/main" val="2413644967"/>
                    </a:ext>
                  </a:extLst>
                </a:gridCol>
                <a:gridCol w="785938">
                  <a:extLst>
                    <a:ext uri="{9D8B030D-6E8A-4147-A177-3AD203B41FA5}">
                      <a16:colId xmlns:a16="http://schemas.microsoft.com/office/drawing/2014/main" val="3725756900"/>
                    </a:ext>
                  </a:extLst>
                </a:gridCol>
                <a:gridCol w="785938">
                  <a:extLst>
                    <a:ext uri="{9D8B030D-6E8A-4147-A177-3AD203B41FA5}">
                      <a16:colId xmlns:a16="http://schemas.microsoft.com/office/drawing/2014/main" val="3241526602"/>
                    </a:ext>
                  </a:extLst>
                </a:gridCol>
                <a:gridCol w="785938">
                  <a:extLst>
                    <a:ext uri="{9D8B030D-6E8A-4147-A177-3AD203B41FA5}">
                      <a16:colId xmlns:a16="http://schemas.microsoft.com/office/drawing/2014/main" val="3283248370"/>
                    </a:ext>
                  </a:extLst>
                </a:gridCol>
                <a:gridCol w="963353">
                  <a:extLst>
                    <a:ext uri="{9D8B030D-6E8A-4147-A177-3AD203B41FA5}">
                      <a16:colId xmlns:a16="http://schemas.microsoft.com/office/drawing/2014/main" val="2596035206"/>
                    </a:ext>
                  </a:extLst>
                </a:gridCol>
                <a:gridCol w="608523">
                  <a:extLst>
                    <a:ext uri="{9D8B030D-6E8A-4147-A177-3AD203B41FA5}">
                      <a16:colId xmlns:a16="http://schemas.microsoft.com/office/drawing/2014/main" val="850890724"/>
                    </a:ext>
                  </a:extLst>
                </a:gridCol>
              </a:tblGrid>
              <a:tr h="587607">
                <a:tc>
                  <a:txBody>
                    <a:bodyPr/>
                    <a:lstStyle/>
                    <a:p>
                      <a:r>
                        <a:rPr lang="en-IN" dirty="0"/>
                        <a:t>Index</a:t>
                      </a:r>
                    </a:p>
                  </a:txBody>
                  <a:tcPr/>
                </a:tc>
                <a:tc>
                  <a:txBody>
                    <a:bodyPr/>
                    <a:lstStyle/>
                    <a:p>
                      <a:r>
                        <a:rPr lang="en-IN" dirty="0"/>
                        <a:t>0</a:t>
                      </a:r>
                    </a:p>
                  </a:txBody>
                  <a:tcPr/>
                </a:tc>
                <a:tc>
                  <a:txBody>
                    <a:bodyPr/>
                    <a:lstStyle/>
                    <a:p>
                      <a:r>
                        <a:rPr lang="en-IN" dirty="0"/>
                        <a:t>1</a:t>
                      </a:r>
                    </a:p>
                  </a:txBody>
                  <a:tcPr/>
                </a:tc>
                <a:tc>
                  <a:txBody>
                    <a:bodyPr/>
                    <a:lstStyle/>
                    <a:p>
                      <a:r>
                        <a:rPr lang="en-IN" dirty="0"/>
                        <a:t>2</a:t>
                      </a:r>
                    </a:p>
                  </a:txBody>
                  <a:tcPr/>
                </a:tc>
                <a:tc>
                  <a:txBody>
                    <a:bodyPr/>
                    <a:lstStyle/>
                    <a:p>
                      <a:r>
                        <a:rPr lang="en-IN" dirty="0"/>
                        <a:t>3</a:t>
                      </a:r>
                    </a:p>
                  </a:txBody>
                  <a:tcPr/>
                </a:tc>
                <a:tc>
                  <a:txBody>
                    <a:bodyPr/>
                    <a:lstStyle/>
                    <a:p>
                      <a:r>
                        <a:rPr lang="en-IN" dirty="0"/>
                        <a:t>4</a:t>
                      </a:r>
                    </a:p>
                  </a:txBody>
                  <a:tcPr/>
                </a:tc>
                <a:tc>
                  <a:txBody>
                    <a:bodyPr/>
                    <a:lstStyle/>
                    <a:p>
                      <a:r>
                        <a:rPr lang="en-IN" dirty="0"/>
                        <a:t>5</a:t>
                      </a:r>
                    </a:p>
                  </a:txBody>
                  <a:tcPr/>
                </a:tc>
                <a:tc>
                  <a:txBody>
                    <a:bodyPr/>
                    <a:lstStyle/>
                    <a:p>
                      <a:r>
                        <a:rPr lang="en-IN" dirty="0"/>
                        <a:t>6</a:t>
                      </a:r>
                    </a:p>
                  </a:txBody>
                  <a:tcPr/>
                </a:tc>
                <a:tc>
                  <a:txBody>
                    <a:bodyPr/>
                    <a:lstStyle/>
                    <a:p>
                      <a:r>
                        <a:rPr lang="en-IN" dirty="0"/>
                        <a:t>7</a:t>
                      </a:r>
                    </a:p>
                  </a:txBody>
                  <a:tcPr/>
                </a:tc>
                <a:tc>
                  <a:txBody>
                    <a:bodyPr/>
                    <a:lstStyle/>
                    <a:p>
                      <a:r>
                        <a:rPr lang="en-IN" dirty="0"/>
                        <a:t>8</a:t>
                      </a:r>
                    </a:p>
                  </a:txBody>
                  <a:tcPr/>
                </a:tc>
                <a:tc>
                  <a:txBody>
                    <a:bodyPr/>
                    <a:lstStyle/>
                    <a:p>
                      <a:r>
                        <a:rPr lang="en-IN" dirty="0"/>
                        <a:t>9</a:t>
                      </a:r>
                    </a:p>
                  </a:txBody>
                  <a:tcPr/>
                </a:tc>
                <a:extLst>
                  <a:ext uri="{0D108BD9-81ED-4DB2-BD59-A6C34878D82A}">
                    <a16:rowId xmlns:a16="http://schemas.microsoft.com/office/drawing/2014/main" val="2625984014"/>
                  </a:ext>
                </a:extLst>
              </a:tr>
              <a:tr h="587607">
                <a:tc>
                  <a:txBody>
                    <a:bodyPr/>
                    <a:lstStyle/>
                    <a:p>
                      <a:r>
                        <a:rPr lang="en-IN" dirty="0"/>
                        <a:t>Vector</a:t>
                      </a:r>
                    </a:p>
                  </a:txBody>
                  <a:tcPr/>
                </a:tc>
                <a:tc>
                  <a:txBody>
                    <a:bodyPr/>
                    <a:lstStyle/>
                    <a:p>
                      <a:r>
                        <a:rPr lang="en-IN" dirty="0"/>
                        <a:t>2</a:t>
                      </a:r>
                    </a:p>
                  </a:txBody>
                  <a:tcPr/>
                </a:tc>
                <a:tc>
                  <a:txBody>
                    <a:bodyPr/>
                    <a:lstStyle/>
                    <a:p>
                      <a:r>
                        <a:rPr lang="en-IN" dirty="0"/>
                        <a:t>2</a:t>
                      </a:r>
                    </a:p>
                  </a:txBody>
                  <a:tcPr/>
                </a:tc>
                <a:tc>
                  <a:txBody>
                    <a:bodyPr/>
                    <a:lstStyle/>
                    <a:p>
                      <a:r>
                        <a:rPr lang="en-IN" dirty="0"/>
                        <a:t>1</a:t>
                      </a:r>
                    </a:p>
                  </a:txBody>
                  <a:tcPr/>
                </a:tc>
                <a:tc>
                  <a:txBody>
                    <a:bodyPr/>
                    <a:lstStyle/>
                    <a:p>
                      <a:r>
                        <a:rPr lang="en-IN" dirty="0"/>
                        <a:t>1</a:t>
                      </a:r>
                    </a:p>
                  </a:txBody>
                  <a:tcPr/>
                </a:tc>
                <a:tc>
                  <a:txBody>
                    <a:bodyPr/>
                    <a:lstStyle/>
                    <a:p>
                      <a:r>
                        <a:rPr lang="en-IN" dirty="0"/>
                        <a:t>3</a:t>
                      </a:r>
                    </a:p>
                  </a:txBody>
                  <a:tcPr/>
                </a:tc>
                <a:tc>
                  <a:txBody>
                    <a:bodyPr/>
                    <a:lstStyle/>
                    <a:p>
                      <a:r>
                        <a:rPr lang="en-IN" dirty="0"/>
                        <a:t>1</a:t>
                      </a:r>
                    </a:p>
                  </a:txBody>
                  <a:tcPr/>
                </a:tc>
                <a:tc>
                  <a:txBody>
                    <a:bodyPr/>
                    <a:lstStyle/>
                    <a:p>
                      <a:r>
                        <a:rPr lang="en-IN" dirty="0"/>
                        <a:t>1</a:t>
                      </a:r>
                    </a:p>
                  </a:txBody>
                  <a:tcPr/>
                </a:tc>
                <a:tc>
                  <a:txBody>
                    <a:bodyPr/>
                    <a:lstStyle/>
                    <a:p>
                      <a:r>
                        <a:rPr lang="en-IN" dirty="0"/>
                        <a:t>3</a:t>
                      </a:r>
                    </a:p>
                  </a:txBody>
                  <a:tcPr/>
                </a:tc>
                <a:tc>
                  <a:txBody>
                    <a:bodyPr/>
                    <a:lstStyle/>
                    <a:p>
                      <a:r>
                        <a:rPr lang="en-IN" dirty="0"/>
                        <a:t>1</a:t>
                      </a:r>
                    </a:p>
                  </a:txBody>
                  <a:tcPr/>
                </a:tc>
                <a:tc>
                  <a:txBody>
                    <a:bodyPr/>
                    <a:lstStyle/>
                    <a:p>
                      <a:r>
                        <a:rPr lang="en-IN" dirty="0"/>
                        <a:t>1</a:t>
                      </a:r>
                    </a:p>
                  </a:txBody>
                  <a:tcPr/>
                </a:tc>
                <a:extLst>
                  <a:ext uri="{0D108BD9-81ED-4DB2-BD59-A6C34878D82A}">
                    <a16:rowId xmlns:a16="http://schemas.microsoft.com/office/drawing/2014/main" val="1507300530"/>
                  </a:ext>
                </a:extLst>
              </a:tr>
            </a:tbl>
          </a:graphicData>
        </a:graphic>
      </p:graphicFrame>
    </p:spTree>
    <p:extLst>
      <p:ext uri="{BB962C8B-B14F-4D97-AF65-F5344CB8AC3E}">
        <p14:creationId xmlns:p14="http://schemas.microsoft.com/office/powerpoint/2010/main" val="13125786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732E5-973A-8348-2900-05680D966755}"/>
              </a:ext>
            </a:extLst>
          </p:cNvPr>
          <p:cNvSpPr>
            <a:spLocks noGrp="1"/>
          </p:cNvSpPr>
          <p:nvPr>
            <p:ph type="title"/>
          </p:nvPr>
        </p:nvSpPr>
        <p:spPr>
          <a:xfrm>
            <a:off x="1141413" y="496124"/>
            <a:ext cx="11106933" cy="1475990"/>
          </a:xfrm>
        </p:spPr>
        <p:txBody>
          <a:bodyPr>
            <a:normAutofit/>
          </a:bodyPr>
          <a:lstStyle/>
          <a:p>
            <a:pPr>
              <a:tabLst>
                <a:tab pos="3768725" algn="l"/>
              </a:tabLst>
            </a:pPr>
            <a:r>
              <a:rPr lang="en-IN" sz="2800" dirty="0"/>
              <a:t>Doc1 : I like natural language processing but I don’t love python</a:t>
            </a:r>
            <a:br>
              <a:rPr lang="en-IN" sz="2800" dirty="0"/>
            </a:br>
            <a:r>
              <a:rPr lang="en-IN" sz="2800" dirty="0"/>
              <a:t>Doc2: I love image processing and I like python</a:t>
            </a:r>
            <a:br>
              <a:rPr lang="en-IN" sz="2800" dirty="0"/>
            </a:br>
            <a:r>
              <a:rPr lang="en-IN" sz="2800" dirty="0"/>
              <a:t>doc3: I like image processing and signal processing</a:t>
            </a:r>
          </a:p>
        </p:txBody>
      </p:sp>
      <p:sp>
        <p:nvSpPr>
          <p:cNvPr id="3" name="Content Placeholder 2">
            <a:extLst>
              <a:ext uri="{FF2B5EF4-FFF2-40B4-BE49-F238E27FC236}">
                <a16:creationId xmlns:a16="http://schemas.microsoft.com/office/drawing/2014/main" id="{548AF318-BF23-2BE7-1DE4-654B0BE6CF26}"/>
              </a:ext>
            </a:extLst>
          </p:cNvPr>
          <p:cNvSpPr>
            <a:spLocks noGrp="1"/>
          </p:cNvSpPr>
          <p:nvPr>
            <p:ph idx="1"/>
          </p:nvPr>
        </p:nvSpPr>
        <p:spPr>
          <a:xfrm>
            <a:off x="878765" y="2416125"/>
            <a:ext cx="9905999" cy="3541714"/>
          </a:xfrm>
        </p:spPr>
        <p:txBody>
          <a:bodyPr/>
          <a:lstStyle/>
          <a:p>
            <a:r>
              <a:rPr lang="en-IN" dirty="0"/>
              <a:t>Corpus size =3 </a:t>
            </a:r>
          </a:p>
          <a:p>
            <a:r>
              <a:rPr lang="en-IN" dirty="0"/>
              <a:t>Bags of Words [ and, but, don’t, I, image, language, like, love, natural, processing, python, signal]</a:t>
            </a:r>
          </a:p>
          <a:p>
            <a:r>
              <a:rPr lang="en-IN" dirty="0"/>
              <a:t>Len of BOWS= 11=vector size</a:t>
            </a:r>
          </a:p>
          <a:p>
            <a:endParaRPr lang="en-IN" dirty="0"/>
          </a:p>
        </p:txBody>
      </p:sp>
      <p:graphicFrame>
        <p:nvGraphicFramePr>
          <p:cNvPr id="4" name="Table 4">
            <a:extLst>
              <a:ext uri="{FF2B5EF4-FFF2-40B4-BE49-F238E27FC236}">
                <a16:creationId xmlns:a16="http://schemas.microsoft.com/office/drawing/2014/main" id="{9069FA78-41F4-6058-7C59-D3493D655CCC}"/>
              </a:ext>
            </a:extLst>
          </p:cNvPr>
          <p:cNvGraphicFramePr>
            <a:graphicFrameLocks noGrp="1"/>
          </p:cNvGraphicFramePr>
          <p:nvPr/>
        </p:nvGraphicFramePr>
        <p:xfrm>
          <a:off x="1141413" y="4502122"/>
          <a:ext cx="9572082" cy="1737360"/>
        </p:xfrm>
        <a:graphic>
          <a:graphicData uri="http://schemas.openxmlformats.org/drawingml/2006/table">
            <a:tbl>
              <a:tblPr firstRow="1" bandRow="1">
                <a:tableStyleId>{5C22544A-7EE6-4342-B048-85BDC9FD1C3A}</a:tableStyleId>
              </a:tblPr>
              <a:tblGrid>
                <a:gridCol w="869037">
                  <a:extLst>
                    <a:ext uri="{9D8B030D-6E8A-4147-A177-3AD203B41FA5}">
                      <a16:colId xmlns:a16="http://schemas.microsoft.com/office/drawing/2014/main" val="182779993"/>
                    </a:ext>
                  </a:extLst>
                </a:gridCol>
                <a:gridCol w="603591">
                  <a:extLst>
                    <a:ext uri="{9D8B030D-6E8A-4147-A177-3AD203B41FA5}">
                      <a16:colId xmlns:a16="http://schemas.microsoft.com/office/drawing/2014/main" val="3941561031"/>
                    </a:ext>
                  </a:extLst>
                </a:gridCol>
                <a:gridCol w="736314">
                  <a:extLst>
                    <a:ext uri="{9D8B030D-6E8A-4147-A177-3AD203B41FA5}">
                      <a16:colId xmlns:a16="http://schemas.microsoft.com/office/drawing/2014/main" val="3669029962"/>
                    </a:ext>
                  </a:extLst>
                </a:gridCol>
                <a:gridCol w="736314">
                  <a:extLst>
                    <a:ext uri="{9D8B030D-6E8A-4147-A177-3AD203B41FA5}">
                      <a16:colId xmlns:a16="http://schemas.microsoft.com/office/drawing/2014/main" val="3131148552"/>
                    </a:ext>
                  </a:extLst>
                </a:gridCol>
                <a:gridCol w="736314">
                  <a:extLst>
                    <a:ext uri="{9D8B030D-6E8A-4147-A177-3AD203B41FA5}">
                      <a16:colId xmlns:a16="http://schemas.microsoft.com/office/drawing/2014/main" val="2103943519"/>
                    </a:ext>
                  </a:extLst>
                </a:gridCol>
                <a:gridCol w="736314">
                  <a:extLst>
                    <a:ext uri="{9D8B030D-6E8A-4147-A177-3AD203B41FA5}">
                      <a16:colId xmlns:a16="http://schemas.microsoft.com/office/drawing/2014/main" val="3005967961"/>
                    </a:ext>
                  </a:extLst>
                </a:gridCol>
                <a:gridCol w="736314">
                  <a:extLst>
                    <a:ext uri="{9D8B030D-6E8A-4147-A177-3AD203B41FA5}">
                      <a16:colId xmlns:a16="http://schemas.microsoft.com/office/drawing/2014/main" val="1653261303"/>
                    </a:ext>
                  </a:extLst>
                </a:gridCol>
                <a:gridCol w="736314">
                  <a:extLst>
                    <a:ext uri="{9D8B030D-6E8A-4147-A177-3AD203B41FA5}">
                      <a16:colId xmlns:a16="http://schemas.microsoft.com/office/drawing/2014/main" val="2673717390"/>
                    </a:ext>
                  </a:extLst>
                </a:gridCol>
                <a:gridCol w="736314">
                  <a:extLst>
                    <a:ext uri="{9D8B030D-6E8A-4147-A177-3AD203B41FA5}">
                      <a16:colId xmlns:a16="http://schemas.microsoft.com/office/drawing/2014/main" val="3142278530"/>
                    </a:ext>
                  </a:extLst>
                </a:gridCol>
                <a:gridCol w="736314">
                  <a:extLst>
                    <a:ext uri="{9D8B030D-6E8A-4147-A177-3AD203B41FA5}">
                      <a16:colId xmlns:a16="http://schemas.microsoft.com/office/drawing/2014/main" val="3578622509"/>
                    </a:ext>
                  </a:extLst>
                </a:gridCol>
                <a:gridCol w="736314">
                  <a:extLst>
                    <a:ext uri="{9D8B030D-6E8A-4147-A177-3AD203B41FA5}">
                      <a16:colId xmlns:a16="http://schemas.microsoft.com/office/drawing/2014/main" val="905305332"/>
                    </a:ext>
                  </a:extLst>
                </a:gridCol>
                <a:gridCol w="736314">
                  <a:extLst>
                    <a:ext uri="{9D8B030D-6E8A-4147-A177-3AD203B41FA5}">
                      <a16:colId xmlns:a16="http://schemas.microsoft.com/office/drawing/2014/main" val="3680451119"/>
                    </a:ext>
                  </a:extLst>
                </a:gridCol>
                <a:gridCol w="736314">
                  <a:extLst>
                    <a:ext uri="{9D8B030D-6E8A-4147-A177-3AD203B41FA5}">
                      <a16:colId xmlns:a16="http://schemas.microsoft.com/office/drawing/2014/main" val="1222649562"/>
                    </a:ext>
                  </a:extLst>
                </a:gridCol>
              </a:tblGrid>
              <a:tr h="579081">
                <a:tc>
                  <a:txBody>
                    <a:bodyPr/>
                    <a:lstStyle/>
                    <a:p>
                      <a:r>
                        <a:rPr lang="en-IN" dirty="0"/>
                        <a:t>Words/Count</a:t>
                      </a:r>
                    </a:p>
                  </a:txBody>
                  <a:tcPr/>
                </a:tc>
                <a:tc>
                  <a:txBody>
                    <a:bodyPr/>
                    <a:lstStyle/>
                    <a:p>
                      <a:r>
                        <a:rPr lang="en-IN" dirty="0"/>
                        <a:t>and</a:t>
                      </a:r>
                    </a:p>
                  </a:txBody>
                  <a:tcPr/>
                </a:tc>
                <a:tc>
                  <a:txBody>
                    <a:bodyPr/>
                    <a:lstStyle/>
                    <a:p>
                      <a:r>
                        <a:rPr lang="en-IN" dirty="0"/>
                        <a:t>but</a:t>
                      </a:r>
                    </a:p>
                  </a:txBody>
                  <a:tcPr/>
                </a:tc>
                <a:tc>
                  <a:txBody>
                    <a:bodyPr/>
                    <a:lstStyle/>
                    <a:p>
                      <a:r>
                        <a:rPr lang="en-IN" dirty="0" err="1"/>
                        <a:t>dont</a:t>
                      </a:r>
                      <a:endParaRPr lang="en-IN" dirty="0"/>
                    </a:p>
                  </a:txBody>
                  <a:tcPr/>
                </a:tc>
                <a:tc>
                  <a:txBody>
                    <a:bodyPr/>
                    <a:lstStyle/>
                    <a:p>
                      <a:r>
                        <a:rPr lang="en-IN" dirty="0" err="1"/>
                        <a:t>i</a:t>
                      </a:r>
                      <a:endParaRPr lang="en-IN" dirty="0"/>
                    </a:p>
                  </a:txBody>
                  <a:tcPr/>
                </a:tc>
                <a:tc>
                  <a:txBody>
                    <a:bodyPr/>
                    <a:lstStyle/>
                    <a:p>
                      <a:r>
                        <a:rPr lang="en-IN" dirty="0"/>
                        <a:t>image</a:t>
                      </a:r>
                    </a:p>
                  </a:txBody>
                  <a:tcPr/>
                </a:tc>
                <a:tc>
                  <a:txBody>
                    <a:bodyPr/>
                    <a:lstStyle/>
                    <a:p>
                      <a:r>
                        <a:rPr lang="en-IN" dirty="0" err="1"/>
                        <a:t>languaage</a:t>
                      </a:r>
                      <a:endParaRPr lang="en-IN" dirty="0"/>
                    </a:p>
                  </a:txBody>
                  <a:tcPr/>
                </a:tc>
                <a:tc>
                  <a:txBody>
                    <a:bodyPr/>
                    <a:lstStyle/>
                    <a:p>
                      <a:r>
                        <a:rPr lang="en-IN" dirty="0"/>
                        <a:t>like</a:t>
                      </a:r>
                    </a:p>
                  </a:txBody>
                  <a:tcPr/>
                </a:tc>
                <a:tc>
                  <a:txBody>
                    <a:bodyPr/>
                    <a:lstStyle/>
                    <a:p>
                      <a:r>
                        <a:rPr lang="en-IN" dirty="0"/>
                        <a:t>love</a:t>
                      </a:r>
                    </a:p>
                  </a:txBody>
                  <a:tcPr/>
                </a:tc>
                <a:tc>
                  <a:txBody>
                    <a:bodyPr/>
                    <a:lstStyle/>
                    <a:p>
                      <a:r>
                        <a:rPr lang="en-IN" dirty="0"/>
                        <a:t>natural</a:t>
                      </a:r>
                    </a:p>
                  </a:txBody>
                  <a:tcPr/>
                </a:tc>
                <a:tc>
                  <a:txBody>
                    <a:bodyPr/>
                    <a:lstStyle/>
                    <a:p>
                      <a:r>
                        <a:rPr lang="en-IN" dirty="0"/>
                        <a:t>processing</a:t>
                      </a:r>
                    </a:p>
                  </a:txBody>
                  <a:tcPr/>
                </a:tc>
                <a:tc>
                  <a:txBody>
                    <a:bodyPr/>
                    <a:lstStyle/>
                    <a:p>
                      <a:r>
                        <a:rPr lang="en-IN" dirty="0"/>
                        <a:t>python</a:t>
                      </a:r>
                    </a:p>
                  </a:txBody>
                  <a:tcPr/>
                </a:tc>
                <a:tc>
                  <a:txBody>
                    <a:bodyPr/>
                    <a:lstStyle/>
                    <a:p>
                      <a:r>
                        <a:rPr lang="en-IN" dirty="0"/>
                        <a:t>signal</a:t>
                      </a:r>
                    </a:p>
                  </a:txBody>
                  <a:tcPr/>
                </a:tc>
                <a:extLst>
                  <a:ext uri="{0D108BD9-81ED-4DB2-BD59-A6C34878D82A}">
                    <a16:rowId xmlns:a16="http://schemas.microsoft.com/office/drawing/2014/main" val="4147158361"/>
                  </a:ext>
                </a:extLst>
              </a:tr>
              <a:tr h="335500">
                <a:tc>
                  <a:txBody>
                    <a:bodyPr/>
                    <a:lstStyle/>
                    <a:p>
                      <a:r>
                        <a:rPr lang="en-IN" dirty="0"/>
                        <a:t>Doc1</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2</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extLst>
                  <a:ext uri="{0D108BD9-81ED-4DB2-BD59-A6C34878D82A}">
                    <a16:rowId xmlns:a16="http://schemas.microsoft.com/office/drawing/2014/main" val="911788186"/>
                  </a:ext>
                </a:extLst>
              </a:tr>
              <a:tr h="335500">
                <a:tc>
                  <a:txBody>
                    <a:bodyPr/>
                    <a:lstStyle/>
                    <a:p>
                      <a:r>
                        <a:rPr lang="en-IN" dirty="0"/>
                        <a:t>Doc2</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2</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extLst>
                  <a:ext uri="{0D108BD9-81ED-4DB2-BD59-A6C34878D82A}">
                    <a16:rowId xmlns:a16="http://schemas.microsoft.com/office/drawing/2014/main" val="856379848"/>
                  </a:ext>
                </a:extLst>
              </a:tr>
              <a:tr h="335500">
                <a:tc>
                  <a:txBody>
                    <a:bodyPr/>
                    <a:lstStyle/>
                    <a:p>
                      <a:r>
                        <a:rPr lang="en-IN" dirty="0"/>
                        <a:t>Doc3</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2</a:t>
                      </a:r>
                    </a:p>
                  </a:txBody>
                  <a:tcPr/>
                </a:tc>
                <a:tc>
                  <a:txBody>
                    <a:bodyPr/>
                    <a:lstStyle/>
                    <a:p>
                      <a:r>
                        <a:rPr lang="en-IN" dirty="0"/>
                        <a:t>0</a:t>
                      </a:r>
                    </a:p>
                  </a:txBody>
                  <a:tcPr/>
                </a:tc>
                <a:tc>
                  <a:txBody>
                    <a:bodyPr/>
                    <a:lstStyle/>
                    <a:p>
                      <a:r>
                        <a:rPr lang="en-IN" dirty="0"/>
                        <a:t>1</a:t>
                      </a:r>
                    </a:p>
                  </a:txBody>
                  <a:tcPr/>
                </a:tc>
                <a:extLst>
                  <a:ext uri="{0D108BD9-81ED-4DB2-BD59-A6C34878D82A}">
                    <a16:rowId xmlns:a16="http://schemas.microsoft.com/office/drawing/2014/main" val="525480933"/>
                  </a:ext>
                </a:extLst>
              </a:tr>
            </a:tbl>
          </a:graphicData>
        </a:graphic>
      </p:graphicFrame>
      <p:sp>
        <p:nvSpPr>
          <p:cNvPr id="5" name="Arrow: Curved Right 4">
            <a:extLst>
              <a:ext uri="{FF2B5EF4-FFF2-40B4-BE49-F238E27FC236}">
                <a16:creationId xmlns:a16="http://schemas.microsoft.com/office/drawing/2014/main" id="{65B8B5B0-5AE5-52DC-2E77-714423753502}"/>
              </a:ext>
            </a:extLst>
          </p:cNvPr>
          <p:cNvSpPr/>
          <p:nvPr/>
        </p:nvSpPr>
        <p:spPr>
          <a:xfrm>
            <a:off x="-50162" y="618518"/>
            <a:ext cx="2102697" cy="521807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Tree>
    <p:extLst>
      <p:ext uri="{BB962C8B-B14F-4D97-AF65-F5344CB8AC3E}">
        <p14:creationId xmlns:p14="http://schemas.microsoft.com/office/powerpoint/2010/main" val="2593910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46F6-8EE2-BBB1-5A2B-D5B66F4634F7}"/>
              </a:ext>
            </a:extLst>
          </p:cNvPr>
          <p:cNvSpPr>
            <a:spLocks noGrp="1"/>
          </p:cNvSpPr>
          <p:nvPr>
            <p:ph type="title"/>
          </p:nvPr>
        </p:nvSpPr>
        <p:spPr>
          <a:xfrm>
            <a:off x="839854" y="69183"/>
            <a:ext cx="9905998" cy="801721"/>
          </a:xfrm>
        </p:spPr>
        <p:txBody>
          <a:bodyPr/>
          <a:lstStyle/>
          <a:p>
            <a:r>
              <a:rPr lang="en-IN" dirty="0"/>
              <a:t>TF IDF</a:t>
            </a:r>
          </a:p>
        </p:txBody>
      </p:sp>
      <p:sp>
        <p:nvSpPr>
          <p:cNvPr id="3" name="Content Placeholder 2">
            <a:extLst>
              <a:ext uri="{FF2B5EF4-FFF2-40B4-BE49-F238E27FC236}">
                <a16:creationId xmlns:a16="http://schemas.microsoft.com/office/drawing/2014/main" id="{83E6B5DC-3989-AEC5-B2C7-B831B7CCFC23}"/>
              </a:ext>
            </a:extLst>
          </p:cNvPr>
          <p:cNvSpPr>
            <a:spLocks noGrp="1"/>
          </p:cNvSpPr>
          <p:nvPr>
            <p:ph idx="1"/>
          </p:nvPr>
        </p:nvSpPr>
        <p:spPr>
          <a:xfrm>
            <a:off x="839854" y="819520"/>
            <a:ext cx="10969525" cy="4716041"/>
          </a:xfrm>
        </p:spPr>
        <p:txBody>
          <a:bodyPr>
            <a:normAutofit/>
          </a:bodyPr>
          <a:lstStyle/>
          <a:p>
            <a:r>
              <a:rPr lang="en-IN" dirty="0"/>
              <a:t>TF Term Frequency </a:t>
            </a:r>
            <a:r>
              <a:rPr lang="en-IN" dirty="0" err="1"/>
              <a:t>i</a:t>
            </a:r>
            <a:r>
              <a:rPr lang="en-US" dirty="0"/>
              <a:t>s the number of occurrences of a specific term in a document. Term frequency indicates how important a specific term in a document.</a:t>
            </a:r>
          </a:p>
          <a:p>
            <a:r>
              <a:rPr lang="en-US" dirty="0"/>
              <a:t>DF Document frequency is the number of documents containing a specific term. Document frequency indicates how common the term is.</a:t>
            </a:r>
          </a:p>
          <a:p>
            <a:r>
              <a:rPr lang="en-US" dirty="0"/>
              <a:t>Inverse document frequency (IDF) looks at how common (or uncommon) a word is amongst the corpus.</a:t>
            </a:r>
          </a:p>
          <a:p>
            <a:endParaRPr lang="en-US" dirty="0"/>
          </a:p>
          <a:p>
            <a:endParaRPr lang="en-US" dirty="0"/>
          </a:p>
          <a:p>
            <a:endParaRPr lang="en-US" dirty="0"/>
          </a:p>
          <a:p>
            <a:endParaRPr lang="en-US" dirty="0"/>
          </a:p>
          <a:p>
            <a:r>
              <a:rPr lang="en-US" dirty="0"/>
              <a:t>TF-IDF Score  </a:t>
            </a:r>
            <a:endParaRPr lang="en-IN" dirty="0"/>
          </a:p>
          <a:p>
            <a:endParaRPr lang="en-IN" dirty="0"/>
          </a:p>
        </p:txBody>
      </p:sp>
      <p:pic>
        <p:nvPicPr>
          <p:cNvPr id="5" name="Picture 4">
            <a:extLst>
              <a:ext uri="{FF2B5EF4-FFF2-40B4-BE49-F238E27FC236}">
                <a16:creationId xmlns:a16="http://schemas.microsoft.com/office/drawing/2014/main" id="{330365B0-F3DF-EF12-A6A3-EDFF3A8EEE29}"/>
              </a:ext>
            </a:extLst>
          </p:cNvPr>
          <p:cNvPicPr>
            <a:picLocks noChangeAspect="1"/>
          </p:cNvPicPr>
          <p:nvPr/>
        </p:nvPicPr>
        <p:blipFill>
          <a:blip r:embed="rId2"/>
          <a:stretch>
            <a:fillRect/>
          </a:stretch>
        </p:blipFill>
        <p:spPr>
          <a:xfrm>
            <a:off x="3238252" y="3428928"/>
            <a:ext cx="2857748" cy="891617"/>
          </a:xfrm>
          <a:prstGeom prst="rect">
            <a:avLst/>
          </a:prstGeom>
        </p:spPr>
      </p:pic>
      <p:pic>
        <p:nvPicPr>
          <p:cNvPr id="7" name="Picture 6">
            <a:extLst>
              <a:ext uri="{FF2B5EF4-FFF2-40B4-BE49-F238E27FC236}">
                <a16:creationId xmlns:a16="http://schemas.microsoft.com/office/drawing/2014/main" id="{BE1FDB30-63AD-C5E6-D0FA-E7A19A8A2EB0}"/>
              </a:ext>
            </a:extLst>
          </p:cNvPr>
          <p:cNvPicPr>
            <a:picLocks noChangeAspect="1"/>
          </p:cNvPicPr>
          <p:nvPr/>
        </p:nvPicPr>
        <p:blipFill>
          <a:blip r:embed="rId3"/>
          <a:stretch>
            <a:fillRect/>
          </a:stretch>
        </p:blipFill>
        <p:spPr>
          <a:xfrm>
            <a:off x="7178269" y="3578824"/>
            <a:ext cx="3223539" cy="289585"/>
          </a:xfrm>
          <a:prstGeom prst="rect">
            <a:avLst/>
          </a:prstGeom>
        </p:spPr>
      </p:pic>
      <p:grpSp>
        <p:nvGrpSpPr>
          <p:cNvPr id="14" name="Group 13">
            <a:extLst>
              <a:ext uri="{FF2B5EF4-FFF2-40B4-BE49-F238E27FC236}">
                <a16:creationId xmlns:a16="http://schemas.microsoft.com/office/drawing/2014/main" id="{65E06CB3-24A9-8D80-674B-DDE4AC2978E3}"/>
              </a:ext>
            </a:extLst>
          </p:cNvPr>
          <p:cNvGrpSpPr/>
          <p:nvPr/>
        </p:nvGrpSpPr>
        <p:grpSpPr>
          <a:xfrm>
            <a:off x="7067346" y="4143432"/>
            <a:ext cx="4619082" cy="341570"/>
            <a:chOff x="7310537" y="4156768"/>
            <a:chExt cx="4619082" cy="341570"/>
          </a:xfrm>
        </p:grpSpPr>
        <p:pic>
          <p:nvPicPr>
            <p:cNvPr id="9" name="Picture 8">
              <a:extLst>
                <a:ext uri="{FF2B5EF4-FFF2-40B4-BE49-F238E27FC236}">
                  <a16:creationId xmlns:a16="http://schemas.microsoft.com/office/drawing/2014/main" id="{9A1B9F30-EA72-4C24-200A-7033A4B10310}"/>
                </a:ext>
              </a:extLst>
            </p:cNvPr>
            <p:cNvPicPr>
              <a:picLocks noChangeAspect="1"/>
            </p:cNvPicPr>
            <p:nvPr/>
          </p:nvPicPr>
          <p:blipFill>
            <a:blip r:embed="rId4"/>
            <a:stretch>
              <a:fillRect/>
            </a:stretch>
          </p:blipFill>
          <p:spPr>
            <a:xfrm>
              <a:off x="7310537" y="4169424"/>
              <a:ext cx="3003502" cy="328914"/>
            </a:xfrm>
            <a:prstGeom prst="rect">
              <a:avLst/>
            </a:prstGeom>
          </p:spPr>
        </p:pic>
        <p:pic>
          <p:nvPicPr>
            <p:cNvPr id="13" name="Picture 12">
              <a:extLst>
                <a:ext uri="{FF2B5EF4-FFF2-40B4-BE49-F238E27FC236}">
                  <a16:creationId xmlns:a16="http://schemas.microsoft.com/office/drawing/2014/main" id="{450D53A1-E3EA-CC32-DA63-F9AA30679616}"/>
                </a:ext>
              </a:extLst>
            </p:cNvPr>
            <p:cNvPicPr>
              <a:picLocks noChangeAspect="1"/>
            </p:cNvPicPr>
            <p:nvPr/>
          </p:nvPicPr>
          <p:blipFill>
            <a:blip r:embed="rId5"/>
            <a:stretch>
              <a:fillRect/>
            </a:stretch>
          </p:blipFill>
          <p:spPr>
            <a:xfrm>
              <a:off x="10314039" y="4156768"/>
              <a:ext cx="1615580" cy="328913"/>
            </a:xfrm>
            <a:prstGeom prst="rect">
              <a:avLst/>
            </a:prstGeom>
          </p:spPr>
        </p:pic>
      </p:grpSp>
      <p:pic>
        <p:nvPicPr>
          <p:cNvPr id="16" name="Picture 15">
            <a:extLst>
              <a:ext uri="{FF2B5EF4-FFF2-40B4-BE49-F238E27FC236}">
                <a16:creationId xmlns:a16="http://schemas.microsoft.com/office/drawing/2014/main" id="{8EF70027-ADFF-7D6F-FB6F-50E22592BE58}"/>
              </a:ext>
            </a:extLst>
          </p:cNvPr>
          <p:cNvPicPr>
            <a:picLocks noChangeAspect="1"/>
          </p:cNvPicPr>
          <p:nvPr/>
        </p:nvPicPr>
        <p:blipFill>
          <a:blip r:embed="rId6"/>
          <a:stretch>
            <a:fillRect/>
          </a:stretch>
        </p:blipFill>
        <p:spPr>
          <a:xfrm>
            <a:off x="7067346" y="4717708"/>
            <a:ext cx="2987299" cy="312447"/>
          </a:xfrm>
          <a:prstGeom prst="rect">
            <a:avLst/>
          </a:prstGeom>
        </p:spPr>
      </p:pic>
      <p:pic>
        <p:nvPicPr>
          <p:cNvPr id="18" name="Picture 17">
            <a:extLst>
              <a:ext uri="{FF2B5EF4-FFF2-40B4-BE49-F238E27FC236}">
                <a16:creationId xmlns:a16="http://schemas.microsoft.com/office/drawing/2014/main" id="{B613AEE9-D879-A618-21B0-1AB9FE8247FA}"/>
              </a:ext>
            </a:extLst>
          </p:cNvPr>
          <p:cNvPicPr>
            <a:picLocks noChangeAspect="1"/>
          </p:cNvPicPr>
          <p:nvPr/>
        </p:nvPicPr>
        <p:blipFill>
          <a:blip r:embed="rId7"/>
          <a:stretch>
            <a:fillRect/>
          </a:stretch>
        </p:blipFill>
        <p:spPr>
          <a:xfrm>
            <a:off x="2818289" y="5192631"/>
            <a:ext cx="3170195" cy="685859"/>
          </a:xfrm>
          <a:prstGeom prst="rect">
            <a:avLst/>
          </a:prstGeom>
        </p:spPr>
      </p:pic>
      <p:pic>
        <p:nvPicPr>
          <p:cNvPr id="20" name="Picture 19">
            <a:extLst>
              <a:ext uri="{FF2B5EF4-FFF2-40B4-BE49-F238E27FC236}">
                <a16:creationId xmlns:a16="http://schemas.microsoft.com/office/drawing/2014/main" id="{DB4C2E24-10D3-78D7-53D6-14E1AC3C86A3}"/>
              </a:ext>
            </a:extLst>
          </p:cNvPr>
          <p:cNvPicPr>
            <a:picLocks noChangeAspect="1"/>
          </p:cNvPicPr>
          <p:nvPr/>
        </p:nvPicPr>
        <p:blipFill>
          <a:blip r:embed="rId8"/>
          <a:stretch>
            <a:fillRect/>
          </a:stretch>
        </p:blipFill>
        <p:spPr>
          <a:xfrm>
            <a:off x="1648501" y="5924991"/>
            <a:ext cx="9230137" cy="518205"/>
          </a:xfrm>
          <a:prstGeom prst="rect">
            <a:avLst/>
          </a:prstGeom>
        </p:spPr>
      </p:pic>
    </p:spTree>
    <p:extLst>
      <p:ext uri="{BB962C8B-B14F-4D97-AF65-F5344CB8AC3E}">
        <p14:creationId xmlns:p14="http://schemas.microsoft.com/office/powerpoint/2010/main" val="22197246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E9F95-C1C1-4027-06E1-CB18A3D3864B}"/>
              </a:ext>
            </a:extLst>
          </p:cNvPr>
          <p:cNvSpPr>
            <a:spLocks noGrp="1"/>
          </p:cNvSpPr>
          <p:nvPr>
            <p:ph type="title"/>
          </p:nvPr>
        </p:nvSpPr>
        <p:spPr>
          <a:xfrm>
            <a:off x="976043" y="0"/>
            <a:ext cx="9905998" cy="612843"/>
          </a:xfrm>
        </p:spPr>
        <p:txBody>
          <a:bodyPr>
            <a:normAutofit fontScale="90000"/>
          </a:bodyPr>
          <a:lstStyle/>
          <a:p>
            <a:r>
              <a:rPr lang="en-IN" dirty="0"/>
              <a:t>Calculating TF-IDF</a:t>
            </a:r>
          </a:p>
        </p:txBody>
      </p:sp>
      <p:sp>
        <p:nvSpPr>
          <p:cNvPr id="3" name="Content Placeholder 2">
            <a:extLst>
              <a:ext uri="{FF2B5EF4-FFF2-40B4-BE49-F238E27FC236}">
                <a16:creationId xmlns:a16="http://schemas.microsoft.com/office/drawing/2014/main" id="{118F1322-6828-55B1-1DCA-7888F423235E}"/>
              </a:ext>
            </a:extLst>
          </p:cNvPr>
          <p:cNvSpPr>
            <a:spLocks noGrp="1"/>
          </p:cNvSpPr>
          <p:nvPr>
            <p:ph idx="1"/>
          </p:nvPr>
        </p:nvSpPr>
        <p:spPr>
          <a:xfrm>
            <a:off x="723123" y="612843"/>
            <a:ext cx="11037617" cy="3541714"/>
          </a:xfrm>
        </p:spPr>
        <p:txBody>
          <a:bodyPr/>
          <a:lstStyle/>
          <a:p>
            <a:pPr>
              <a:lnSpc>
                <a:spcPct val="100000"/>
              </a:lnSpc>
              <a:spcBef>
                <a:spcPts val="0"/>
              </a:spcBef>
            </a:pPr>
            <a:r>
              <a:rPr lang="en-IN" dirty="0"/>
              <a:t>Doc 1: I love natural language processing by using python.</a:t>
            </a:r>
          </a:p>
          <a:p>
            <a:pPr>
              <a:lnSpc>
                <a:spcPct val="100000"/>
              </a:lnSpc>
              <a:spcBef>
                <a:spcPts val="0"/>
              </a:spcBef>
            </a:pPr>
            <a:r>
              <a:rPr lang="en-IN" dirty="0"/>
              <a:t>Doc 2 I like image processing but I hate python</a:t>
            </a:r>
          </a:p>
          <a:p>
            <a:pPr>
              <a:lnSpc>
                <a:spcPct val="100000"/>
              </a:lnSpc>
              <a:spcBef>
                <a:spcPts val="0"/>
              </a:spcBef>
            </a:pPr>
            <a:r>
              <a:rPr lang="en-IN" dirty="0"/>
              <a:t>Doc 3: I like signal processing and image processing in cat images</a:t>
            </a:r>
          </a:p>
          <a:p>
            <a:r>
              <a:rPr lang="en-IN" dirty="0"/>
              <a:t>Step 1: Create Term Frequency Matrix</a:t>
            </a:r>
          </a:p>
        </p:txBody>
      </p:sp>
      <p:graphicFrame>
        <p:nvGraphicFramePr>
          <p:cNvPr id="4" name="Table 4">
            <a:extLst>
              <a:ext uri="{FF2B5EF4-FFF2-40B4-BE49-F238E27FC236}">
                <a16:creationId xmlns:a16="http://schemas.microsoft.com/office/drawing/2014/main" id="{C0615775-6E4B-4371-6981-50CCD41AD663}"/>
              </a:ext>
            </a:extLst>
          </p:cNvPr>
          <p:cNvGraphicFramePr>
            <a:graphicFrameLocks noGrp="1"/>
          </p:cNvGraphicFramePr>
          <p:nvPr/>
        </p:nvGraphicFramePr>
        <p:xfrm>
          <a:off x="210767" y="2412317"/>
          <a:ext cx="11770465" cy="2033366"/>
        </p:xfrm>
        <a:graphic>
          <a:graphicData uri="http://schemas.openxmlformats.org/drawingml/2006/table">
            <a:tbl>
              <a:tblPr firstRow="1" bandRow="1">
                <a:tableStyleId>{327F97BB-C833-4FB7-BDE5-3F7075034690}</a:tableStyleId>
              </a:tblPr>
              <a:tblGrid>
                <a:gridCol w="797668">
                  <a:extLst>
                    <a:ext uri="{9D8B030D-6E8A-4147-A177-3AD203B41FA5}">
                      <a16:colId xmlns:a16="http://schemas.microsoft.com/office/drawing/2014/main" val="4121565808"/>
                    </a:ext>
                  </a:extLst>
                </a:gridCol>
                <a:gridCol w="670848">
                  <a:extLst>
                    <a:ext uri="{9D8B030D-6E8A-4147-A177-3AD203B41FA5}">
                      <a16:colId xmlns:a16="http://schemas.microsoft.com/office/drawing/2014/main" val="1106248886"/>
                    </a:ext>
                  </a:extLst>
                </a:gridCol>
                <a:gridCol w="734258">
                  <a:extLst>
                    <a:ext uri="{9D8B030D-6E8A-4147-A177-3AD203B41FA5}">
                      <a16:colId xmlns:a16="http://schemas.microsoft.com/office/drawing/2014/main" val="2349928215"/>
                    </a:ext>
                  </a:extLst>
                </a:gridCol>
                <a:gridCol w="491859">
                  <a:extLst>
                    <a:ext uri="{9D8B030D-6E8A-4147-A177-3AD203B41FA5}">
                      <a16:colId xmlns:a16="http://schemas.microsoft.com/office/drawing/2014/main" val="1119945274"/>
                    </a:ext>
                  </a:extLst>
                </a:gridCol>
                <a:gridCol w="675300">
                  <a:extLst>
                    <a:ext uri="{9D8B030D-6E8A-4147-A177-3AD203B41FA5}">
                      <a16:colId xmlns:a16="http://schemas.microsoft.com/office/drawing/2014/main" val="3927456623"/>
                    </a:ext>
                  </a:extLst>
                </a:gridCol>
                <a:gridCol w="418495">
                  <a:extLst>
                    <a:ext uri="{9D8B030D-6E8A-4147-A177-3AD203B41FA5}">
                      <a16:colId xmlns:a16="http://schemas.microsoft.com/office/drawing/2014/main" val="675188598"/>
                    </a:ext>
                  </a:extLst>
                </a:gridCol>
                <a:gridCol w="815814">
                  <a:extLst>
                    <a:ext uri="{9D8B030D-6E8A-4147-A177-3AD203B41FA5}">
                      <a16:colId xmlns:a16="http://schemas.microsoft.com/office/drawing/2014/main" val="2546599112"/>
                    </a:ext>
                  </a:extLst>
                </a:gridCol>
                <a:gridCol w="1179379">
                  <a:extLst>
                    <a:ext uri="{9D8B030D-6E8A-4147-A177-3AD203B41FA5}">
                      <a16:colId xmlns:a16="http://schemas.microsoft.com/office/drawing/2014/main" val="480876204"/>
                    </a:ext>
                  </a:extLst>
                </a:gridCol>
                <a:gridCol w="614284">
                  <a:extLst>
                    <a:ext uri="{9D8B030D-6E8A-4147-A177-3AD203B41FA5}">
                      <a16:colId xmlns:a16="http://schemas.microsoft.com/office/drawing/2014/main" val="3102961576"/>
                    </a:ext>
                  </a:extLst>
                </a:gridCol>
                <a:gridCol w="728270">
                  <a:extLst>
                    <a:ext uri="{9D8B030D-6E8A-4147-A177-3AD203B41FA5}">
                      <a16:colId xmlns:a16="http://schemas.microsoft.com/office/drawing/2014/main" val="1182987027"/>
                    </a:ext>
                  </a:extLst>
                </a:gridCol>
                <a:gridCol w="1161072">
                  <a:extLst>
                    <a:ext uri="{9D8B030D-6E8A-4147-A177-3AD203B41FA5}">
                      <a16:colId xmlns:a16="http://schemas.microsoft.com/office/drawing/2014/main" val="2601672166"/>
                    </a:ext>
                  </a:extLst>
                </a:gridCol>
                <a:gridCol w="1234406">
                  <a:extLst>
                    <a:ext uri="{9D8B030D-6E8A-4147-A177-3AD203B41FA5}">
                      <a16:colId xmlns:a16="http://schemas.microsoft.com/office/drawing/2014/main" val="3088416001"/>
                    </a:ext>
                  </a:extLst>
                </a:gridCol>
                <a:gridCol w="1087740">
                  <a:extLst>
                    <a:ext uri="{9D8B030D-6E8A-4147-A177-3AD203B41FA5}">
                      <a16:colId xmlns:a16="http://schemas.microsoft.com/office/drawing/2014/main" val="155732983"/>
                    </a:ext>
                  </a:extLst>
                </a:gridCol>
                <a:gridCol w="1161072">
                  <a:extLst>
                    <a:ext uri="{9D8B030D-6E8A-4147-A177-3AD203B41FA5}">
                      <a16:colId xmlns:a16="http://schemas.microsoft.com/office/drawing/2014/main" val="2779608597"/>
                    </a:ext>
                  </a:extLst>
                </a:gridCol>
              </a:tblGrid>
              <a:tr h="924257">
                <a:tc>
                  <a:txBody>
                    <a:bodyPr/>
                    <a:lstStyle/>
                    <a:p>
                      <a:r>
                        <a:rPr lang="en-IN" dirty="0"/>
                        <a:t>Terms/Doc</a:t>
                      </a:r>
                    </a:p>
                  </a:txBody>
                  <a:tcPr/>
                </a:tc>
                <a:tc>
                  <a:txBody>
                    <a:bodyPr/>
                    <a:lstStyle/>
                    <a:p>
                      <a:r>
                        <a:rPr lang="en-IN" dirty="0"/>
                        <a:t>and</a:t>
                      </a:r>
                    </a:p>
                  </a:txBody>
                  <a:tcPr/>
                </a:tc>
                <a:tc>
                  <a:txBody>
                    <a:bodyPr/>
                    <a:lstStyle/>
                    <a:p>
                      <a:r>
                        <a:rPr lang="en-IN" dirty="0"/>
                        <a:t>but</a:t>
                      </a:r>
                    </a:p>
                  </a:txBody>
                  <a:tcPr/>
                </a:tc>
                <a:tc>
                  <a:txBody>
                    <a:bodyPr/>
                    <a:lstStyle/>
                    <a:p>
                      <a:r>
                        <a:rPr lang="en-IN" dirty="0"/>
                        <a:t>by</a:t>
                      </a:r>
                    </a:p>
                  </a:txBody>
                  <a:tcPr/>
                </a:tc>
                <a:tc>
                  <a:txBody>
                    <a:bodyPr/>
                    <a:lstStyle/>
                    <a:p>
                      <a:r>
                        <a:rPr lang="en-IN" dirty="0"/>
                        <a:t>hate</a:t>
                      </a:r>
                    </a:p>
                  </a:txBody>
                  <a:tcPr/>
                </a:tc>
                <a:tc>
                  <a:txBody>
                    <a:bodyPr/>
                    <a:lstStyle/>
                    <a:p>
                      <a:r>
                        <a:rPr lang="en-IN" dirty="0"/>
                        <a:t>I</a:t>
                      </a:r>
                    </a:p>
                  </a:txBody>
                  <a:tcPr/>
                </a:tc>
                <a:tc>
                  <a:txBody>
                    <a:bodyPr/>
                    <a:lstStyle/>
                    <a:p>
                      <a:r>
                        <a:rPr lang="en-IN" dirty="0"/>
                        <a:t>image</a:t>
                      </a:r>
                    </a:p>
                  </a:txBody>
                  <a:tcPr/>
                </a:tc>
                <a:tc>
                  <a:txBody>
                    <a:bodyPr/>
                    <a:lstStyle/>
                    <a:p>
                      <a:r>
                        <a:rPr lang="en-IN" dirty="0"/>
                        <a:t>language</a:t>
                      </a:r>
                    </a:p>
                  </a:txBody>
                  <a:tcPr/>
                </a:tc>
                <a:tc>
                  <a:txBody>
                    <a:bodyPr/>
                    <a:lstStyle/>
                    <a:p>
                      <a:r>
                        <a:rPr lang="en-IN" dirty="0"/>
                        <a:t>like</a:t>
                      </a:r>
                    </a:p>
                  </a:txBody>
                  <a:tcPr/>
                </a:tc>
                <a:tc>
                  <a:txBody>
                    <a:bodyPr/>
                    <a:lstStyle/>
                    <a:p>
                      <a:r>
                        <a:rPr lang="en-IN" dirty="0"/>
                        <a:t>love</a:t>
                      </a:r>
                    </a:p>
                  </a:txBody>
                  <a:tcPr/>
                </a:tc>
                <a:tc>
                  <a:txBody>
                    <a:bodyPr/>
                    <a:lstStyle/>
                    <a:p>
                      <a:r>
                        <a:rPr lang="en-IN" dirty="0"/>
                        <a:t>natural</a:t>
                      </a:r>
                    </a:p>
                  </a:txBody>
                  <a:tcPr/>
                </a:tc>
                <a:tc>
                  <a:txBody>
                    <a:bodyPr/>
                    <a:lstStyle/>
                    <a:p>
                      <a:r>
                        <a:rPr lang="en-IN" dirty="0"/>
                        <a:t>processing</a:t>
                      </a:r>
                    </a:p>
                  </a:txBody>
                  <a:tcPr/>
                </a:tc>
                <a:tc>
                  <a:txBody>
                    <a:bodyPr/>
                    <a:lstStyle/>
                    <a:p>
                      <a:r>
                        <a:rPr lang="en-IN" dirty="0"/>
                        <a:t>python</a:t>
                      </a:r>
                    </a:p>
                  </a:txBody>
                  <a:tcPr/>
                </a:tc>
                <a:tc>
                  <a:txBody>
                    <a:bodyPr/>
                    <a:lstStyle/>
                    <a:p>
                      <a:r>
                        <a:rPr lang="en-IN" dirty="0"/>
                        <a:t>signal</a:t>
                      </a:r>
                    </a:p>
                  </a:txBody>
                  <a:tcPr/>
                </a:tc>
                <a:extLst>
                  <a:ext uri="{0D108BD9-81ED-4DB2-BD59-A6C34878D82A}">
                    <a16:rowId xmlns:a16="http://schemas.microsoft.com/office/drawing/2014/main" val="2639879364"/>
                  </a:ext>
                </a:extLst>
              </a:tr>
              <a:tr h="369703">
                <a:tc>
                  <a:txBody>
                    <a:bodyPr/>
                    <a:lstStyle/>
                    <a:p>
                      <a:r>
                        <a:rPr lang="en-IN" dirty="0"/>
                        <a:t>Doc1</a:t>
                      </a:r>
                    </a:p>
                  </a:txBody>
                  <a:tcPr/>
                </a:tc>
                <a:tc>
                  <a:txBody>
                    <a:bodyPr/>
                    <a:lstStyle/>
                    <a:p>
                      <a:r>
                        <a:rPr lang="en-IN" dirty="0"/>
                        <a:t>0</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extLst>
                  <a:ext uri="{0D108BD9-81ED-4DB2-BD59-A6C34878D82A}">
                    <a16:rowId xmlns:a16="http://schemas.microsoft.com/office/drawing/2014/main" val="1075798770"/>
                  </a:ext>
                </a:extLst>
              </a:tr>
              <a:tr h="369703">
                <a:tc>
                  <a:txBody>
                    <a:bodyPr/>
                    <a:lstStyle/>
                    <a:p>
                      <a:r>
                        <a:rPr lang="en-IN" dirty="0"/>
                        <a:t>Doc 2</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extLst>
                  <a:ext uri="{0D108BD9-81ED-4DB2-BD59-A6C34878D82A}">
                    <a16:rowId xmlns:a16="http://schemas.microsoft.com/office/drawing/2014/main" val="510223563"/>
                  </a:ext>
                </a:extLst>
              </a:tr>
              <a:tr h="369703">
                <a:tc>
                  <a:txBody>
                    <a:bodyPr/>
                    <a:lstStyle/>
                    <a:p>
                      <a:r>
                        <a:rPr lang="en-IN" dirty="0"/>
                        <a:t>Doc 3</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0</a:t>
                      </a:r>
                    </a:p>
                  </a:txBody>
                  <a:tcPr/>
                </a:tc>
                <a:tc>
                  <a:txBody>
                    <a:bodyPr/>
                    <a:lstStyle/>
                    <a:p>
                      <a:r>
                        <a:rPr lang="en-IN" dirty="0"/>
                        <a:t>1</a:t>
                      </a:r>
                    </a:p>
                  </a:txBody>
                  <a:tcPr/>
                </a:tc>
                <a:tc>
                  <a:txBody>
                    <a:bodyPr/>
                    <a:lstStyle/>
                    <a:p>
                      <a:r>
                        <a:rPr lang="en-IN" dirty="0"/>
                        <a:t>1</a:t>
                      </a:r>
                    </a:p>
                  </a:txBody>
                  <a:tcPr/>
                </a:tc>
                <a:tc>
                  <a:txBody>
                    <a:bodyPr/>
                    <a:lstStyle/>
                    <a:p>
                      <a:r>
                        <a:rPr lang="en-IN" dirty="0"/>
                        <a:t>0</a:t>
                      </a:r>
                    </a:p>
                  </a:txBody>
                  <a:tcPr/>
                </a:tc>
                <a:tc>
                  <a:txBody>
                    <a:bodyPr/>
                    <a:lstStyle/>
                    <a:p>
                      <a:r>
                        <a:rPr lang="en-IN" dirty="0"/>
                        <a:t>1</a:t>
                      </a:r>
                    </a:p>
                  </a:txBody>
                  <a:tcPr/>
                </a:tc>
                <a:tc>
                  <a:txBody>
                    <a:bodyPr/>
                    <a:lstStyle/>
                    <a:p>
                      <a:r>
                        <a:rPr lang="en-IN" dirty="0"/>
                        <a:t>0</a:t>
                      </a:r>
                    </a:p>
                  </a:txBody>
                  <a:tcPr/>
                </a:tc>
                <a:tc>
                  <a:txBody>
                    <a:bodyPr/>
                    <a:lstStyle/>
                    <a:p>
                      <a:r>
                        <a:rPr lang="en-IN" dirty="0"/>
                        <a:t>0</a:t>
                      </a:r>
                    </a:p>
                  </a:txBody>
                  <a:tcPr/>
                </a:tc>
                <a:tc>
                  <a:txBody>
                    <a:bodyPr/>
                    <a:lstStyle/>
                    <a:p>
                      <a:r>
                        <a:rPr lang="en-IN" dirty="0"/>
                        <a:t>2</a:t>
                      </a:r>
                    </a:p>
                  </a:txBody>
                  <a:tcPr/>
                </a:tc>
                <a:tc>
                  <a:txBody>
                    <a:bodyPr/>
                    <a:lstStyle/>
                    <a:p>
                      <a:r>
                        <a:rPr lang="en-IN" dirty="0"/>
                        <a:t>0</a:t>
                      </a:r>
                    </a:p>
                  </a:txBody>
                  <a:tcPr/>
                </a:tc>
                <a:tc>
                  <a:txBody>
                    <a:bodyPr/>
                    <a:lstStyle/>
                    <a:p>
                      <a:r>
                        <a:rPr lang="en-IN" dirty="0"/>
                        <a:t>1</a:t>
                      </a:r>
                    </a:p>
                  </a:txBody>
                  <a:tcPr/>
                </a:tc>
                <a:extLst>
                  <a:ext uri="{0D108BD9-81ED-4DB2-BD59-A6C34878D82A}">
                    <a16:rowId xmlns:a16="http://schemas.microsoft.com/office/drawing/2014/main" val="1087582250"/>
                  </a:ext>
                </a:extLst>
              </a:tr>
            </a:tbl>
          </a:graphicData>
        </a:graphic>
      </p:graphicFrame>
      <p:sp>
        <p:nvSpPr>
          <p:cNvPr id="6" name="TextBox 5">
            <a:extLst>
              <a:ext uri="{FF2B5EF4-FFF2-40B4-BE49-F238E27FC236}">
                <a16:creationId xmlns:a16="http://schemas.microsoft.com/office/drawing/2014/main" id="{83F28606-3D51-4D55-776E-6D84AAADBBEA}"/>
              </a:ext>
            </a:extLst>
          </p:cNvPr>
          <p:cNvSpPr txBox="1"/>
          <p:nvPr/>
        </p:nvSpPr>
        <p:spPr>
          <a:xfrm>
            <a:off x="723123" y="4582734"/>
            <a:ext cx="6099242" cy="503728"/>
          </a:xfrm>
          <a:prstGeom prst="rect">
            <a:avLst/>
          </a:prstGeom>
          <a:noFill/>
        </p:spPr>
        <p:txBody>
          <a:bodyPr wrap="square">
            <a:spAutoFit/>
          </a:bodyPr>
          <a:lstStyle/>
          <a:p>
            <a:pPr marL="228600" indent="-228600" defTabSz="914400">
              <a:lnSpc>
                <a:spcPct val="120000"/>
              </a:lnSpc>
              <a:spcBef>
                <a:spcPts val="1000"/>
              </a:spcBef>
              <a:buSzPct val="125000"/>
              <a:buFont typeface="Arial" panose="020B0604020202020204" pitchFamily="34" charset="0"/>
              <a:buChar char="•"/>
            </a:pPr>
            <a:r>
              <a:rPr lang="en-IN" sz="2400" dirty="0"/>
              <a:t>Step 2: Compute Inverse Document Frequency</a:t>
            </a:r>
          </a:p>
        </p:txBody>
      </p:sp>
      <p:graphicFrame>
        <p:nvGraphicFramePr>
          <p:cNvPr id="7" name="Table 7">
            <a:extLst>
              <a:ext uri="{FF2B5EF4-FFF2-40B4-BE49-F238E27FC236}">
                <a16:creationId xmlns:a16="http://schemas.microsoft.com/office/drawing/2014/main" id="{9C2C13B4-5E4B-7C55-A66C-69A249E9A625}"/>
              </a:ext>
            </a:extLst>
          </p:cNvPr>
          <p:cNvGraphicFramePr>
            <a:graphicFrameLocks noGrp="1"/>
          </p:cNvGraphicFramePr>
          <p:nvPr/>
        </p:nvGraphicFramePr>
        <p:xfrm>
          <a:off x="301561" y="5223513"/>
          <a:ext cx="11770464" cy="1280160"/>
        </p:xfrm>
        <a:graphic>
          <a:graphicData uri="http://schemas.openxmlformats.org/drawingml/2006/table">
            <a:tbl>
              <a:tblPr firstRow="1" bandRow="1">
                <a:tableStyleId>{5C22544A-7EE6-4342-B048-85BDC9FD1C3A}</a:tableStyleId>
              </a:tblPr>
              <a:tblGrid>
                <a:gridCol w="700388">
                  <a:extLst>
                    <a:ext uri="{9D8B030D-6E8A-4147-A177-3AD203B41FA5}">
                      <a16:colId xmlns:a16="http://schemas.microsoft.com/office/drawing/2014/main" val="1832375912"/>
                    </a:ext>
                  </a:extLst>
                </a:gridCol>
                <a:gridCol w="875489">
                  <a:extLst>
                    <a:ext uri="{9D8B030D-6E8A-4147-A177-3AD203B41FA5}">
                      <a16:colId xmlns:a16="http://schemas.microsoft.com/office/drawing/2014/main" val="3013232219"/>
                    </a:ext>
                  </a:extLst>
                </a:gridCol>
                <a:gridCol w="836579">
                  <a:extLst>
                    <a:ext uri="{9D8B030D-6E8A-4147-A177-3AD203B41FA5}">
                      <a16:colId xmlns:a16="http://schemas.microsoft.com/office/drawing/2014/main" val="1717353455"/>
                    </a:ext>
                  </a:extLst>
                </a:gridCol>
                <a:gridCol w="746006">
                  <a:extLst>
                    <a:ext uri="{9D8B030D-6E8A-4147-A177-3AD203B41FA5}">
                      <a16:colId xmlns:a16="http://schemas.microsoft.com/office/drawing/2014/main" val="4288845744"/>
                    </a:ext>
                  </a:extLst>
                </a:gridCol>
                <a:gridCol w="773510">
                  <a:extLst>
                    <a:ext uri="{9D8B030D-6E8A-4147-A177-3AD203B41FA5}">
                      <a16:colId xmlns:a16="http://schemas.microsoft.com/office/drawing/2014/main" val="2630192916"/>
                    </a:ext>
                  </a:extLst>
                </a:gridCol>
                <a:gridCol w="534632">
                  <a:extLst>
                    <a:ext uri="{9D8B030D-6E8A-4147-A177-3AD203B41FA5}">
                      <a16:colId xmlns:a16="http://schemas.microsoft.com/office/drawing/2014/main" val="2274713972"/>
                    </a:ext>
                  </a:extLst>
                </a:gridCol>
                <a:gridCol w="989638">
                  <a:extLst>
                    <a:ext uri="{9D8B030D-6E8A-4147-A177-3AD203B41FA5}">
                      <a16:colId xmlns:a16="http://schemas.microsoft.com/office/drawing/2014/main" val="3607744576"/>
                    </a:ext>
                  </a:extLst>
                </a:gridCol>
                <a:gridCol w="1041831">
                  <a:extLst>
                    <a:ext uri="{9D8B030D-6E8A-4147-A177-3AD203B41FA5}">
                      <a16:colId xmlns:a16="http://schemas.microsoft.com/office/drawing/2014/main" val="2071916805"/>
                    </a:ext>
                  </a:extLst>
                </a:gridCol>
                <a:gridCol w="768485">
                  <a:extLst>
                    <a:ext uri="{9D8B030D-6E8A-4147-A177-3AD203B41FA5}">
                      <a16:colId xmlns:a16="http://schemas.microsoft.com/office/drawing/2014/main" val="2692792122"/>
                    </a:ext>
                  </a:extLst>
                </a:gridCol>
                <a:gridCol w="632298">
                  <a:extLst>
                    <a:ext uri="{9D8B030D-6E8A-4147-A177-3AD203B41FA5}">
                      <a16:colId xmlns:a16="http://schemas.microsoft.com/office/drawing/2014/main" val="3260607067"/>
                    </a:ext>
                  </a:extLst>
                </a:gridCol>
                <a:gridCol w="904672">
                  <a:extLst>
                    <a:ext uri="{9D8B030D-6E8A-4147-A177-3AD203B41FA5}">
                      <a16:colId xmlns:a16="http://schemas.microsoft.com/office/drawing/2014/main" val="204568611"/>
                    </a:ext>
                  </a:extLst>
                </a:gridCol>
                <a:gridCol w="1196502">
                  <a:extLst>
                    <a:ext uri="{9D8B030D-6E8A-4147-A177-3AD203B41FA5}">
                      <a16:colId xmlns:a16="http://schemas.microsoft.com/office/drawing/2014/main" val="2782353355"/>
                    </a:ext>
                  </a:extLst>
                </a:gridCol>
                <a:gridCol w="865762">
                  <a:extLst>
                    <a:ext uri="{9D8B030D-6E8A-4147-A177-3AD203B41FA5}">
                      <a16:colId xmlns:a16="http://schemas.microsoft.com/office/drawing/2014/main" val="2571891808"/>
                    </a:ext>
                  </a:extLst>
                </a:gridCol>
                <a:gridCol w="904672">
                  <a:extLst>
                    <a:ext uri="{9D8B030D-6E8A-4147-A177-3AD203B41FA5}">
                      <a16:colId xmlns:a16="http://schemas.microsoft.com/office/drawing/2014/main" val="2277744887"/>
                    </a:ext>
                  </a:extLst>
                </a:gridCol>
              </a:tblGrid>
              <a:tr h="600615">
                <a:tc>
                  <a:txBody>
                    <a:bodyPr/>
                    <a:lstStyle/>
                    <a:p>
                      <a:r>
                        <a:rPr lang="en-IN" dirty="0"/>
                        <a:t>Term</a:t>
                      </a:r>
                    </a:p>
                  </a:txBody>
                  <a:tcPr/>
                </a:tc>
                <a:tc>
                  <a:txBody>
                    <a:bodyPr/>
                    <a:lstStyle/>
                    <a:p>
                      <a:r>
                        <a:rPr lang="en-IN" dirty="0"/>
                        <a:t>and</a:t>
                      </a:r>
                    </a:p>
                  </a:txBody>
                  <a:tcPr/>
                </a:tc>
                <a:tc>
                  <a:txBody>
                    <a:bodyPr/>
                    <a:lstStyle/>
                    <a:p>
                      <a:r>
                        <a:rPr lang="en-IN" dirty="0"/>
                        <a:t>but</a:t>
                      </a:r>
                    </a:p>
                  </a:txBody>
                  <a:tcPr/>
                </a:tc>
                <a:tc>
                  <a:txBody>
                    <a:bodyPr/>
                    <a:lstStyle/>
                    <a:p>
                      <a:r>
                        <a:rPr lang="en-IN" dirty="0"/>
                        <a:t>by</a:t>
                      </a:r>
                    </a:p>
                  </a:txBody>
                  <a:tcPr/>
                </a:tc>
                <a:tc>
                  <a:txBody>
                    <a:bodyPr/>
                    <a:lstStyle/>
                    <a:p>
                      <a:r>
                        <a:rPr lang="en-IN" dirty="0"/>
                        <a:t>hate</a:t>
                      </a:r>
                    </a:p>
                  </a:txBody>
                  <a:tcPr/>
                </a:tc>
                <a:tc>
                  <a:txBody>
                    <a:bodyPr/>
                    <a:lstStyle/>
                    <a:p>
                      <a:r>
                        <a:rPr lang="en-IN" dirty="0"/>
                        <a:t>I</a:t>
                      </a:r>
                    </a:p>
                  </a:txBody>
                  <a:tcPr/>
                </a:tc>
                <a:tc>
                  <a:txBody>
                    <a:bodyPr/>
                    <a:lstStyle/>
                    <a:p>
                      <a:r>
                        <a:rPr lang="en-IN" dirty="0"/>
                        <a:t>image</a:t>
                      </a:r>
                    </a:p>
                  </a:txBody>
                  <a:tcPr/>
                </a:tc>
                <a:tc>
                  <a:txBody>
                    <a:bodyPr/>
                    <a:lstStyle/>
                    <a:p>
                      <a:r>
                        <a:rPr lang="en-IN" dirty="0"/>
                        <a:t>language</a:t>
                      </a:r>
                    </a:p>
                  </a:txBody>
                  <a:tcPr/>
                </a:tc>
                <a:tc>
                  <a:txBody>
                    <a:bodyPr/>
                    <a:lstStyle/>
                    <a:p>
                      <a:r>
                        <a:rPr lang="en-IN" dirty="0"/>
                        <a:t>like</a:t>
                      </a:r>
                    </a:p>
                  </a:txBody>
                  <a:tcPr/>
                </a:tc>
                <a:tc>
                  <a:txBody>
                    <a:bodyPr/>
                    <a:lstStyle/>
                    <a:p>
                      <a:r>
                        <a:rPr lang="en-IN" dirty="0"/>
                        <a:t>love</a:t>
                      </a:r>
                    </a:p>
                  </a:txBody>
                  <a:tcPr/>
                </a:tc>
                <a:tc>
                  <a:txBody>
                    <a:bodyPr/>
                    <a:lstStyle/>
                    <a:p>
                      <a:r>
                        <a:rPr lang="en-IN" dirty="0"/>
                        <a:t>natural</a:t>
                      </a:r>
                    </a:p>
                  </a:txBody>
                  <a:tcPr/>
                </a:tc>
                <a:tc>
                  <a:txBody>
                    <a:bodyPr/>
                    <a:lstStyle/>
                    <a:p>
                      <a:r>
                        <a:rPr lang="en-IN" dirty="0"/>
                        <a:t>processing</a:t>
                      </a:r>
                    </a:p>
                  </a:txBody>
                  <a:tcPr/>
                </a:tc>
                <a:tc>
                  <a:txBody>
                    <a:bodyPr/>
                    <a:lstStyle/>
                    <a:p>
                      <a:r>
                        <a:rPr lang="en-IN" dirty="0"/>
                        <a:t>python</a:t>
                      </a:r>
                    </a:p>
                  </a:txBody>
                  <a:tcPr/>
                </a:tc>
                <a:tc>
                  <a:txBody>
                    <a:bodyPr/>
                    <a:lstStyle/>
                    <a:p>
                      <a:r>
                        <a:rPr lang="en-IN" dirty="0"/>
                        <a:t>signal</a:t>
                      </a:r>
                    </a:p>
                  </a:txBody>
                  <a:tcPr/>
                </a:tc>
                <a:extLst>
                  <a:ext uri="{0D108BD9-81ED-4DB2-BD59-A6C34878D82A}">
                    <a16:rowId xmlns:a16="http://schemas.microsoft.com/office/drawing/2014/main" val="2166138903"/>
                  </a:ext>
                </a:extLst>
              </a:tr>
              <a:tr h="343208">
                <a:tc>
                  <a:txBody>
                    <a:bodyPr/>
                    <a:lstStyle/>
                    <a:p>
                      <a:r>
                        <a:rPr lang="en-IN" dirty="0"/>
                        <a:t>IDF</a:t>
                      </a:r>
                    </a:p>
                  </a:txBody>
                  <a:tcPr/>
                </a:tc>
                <a:tc>
                  <a:txBody>
                    <a:bodyPr/>
                    <a:lstStyle/>
                    <a:p>
                      <a:r>
                        <a:rPr lang="en-IN" dirty="0"/>
                        <a:t>0.477</a:t>
                      </a:r>
                    </a:p>
                  </a:txBody>
                  <a:tcPr/>
                </a:tc>
                <a:tc>
                  <a:txBody>
                    <a:bodyPr/>
                    <a:lstStyle/>
                    <a:p>
                      <a:r>
                        <a:rPr lang="en-IN" dirty="0"/>
                        <a:t>0.477</a:t>
                      </a:r>
                    </a:p>
                  </a:txBody>
                  <a:tcPr/>
                </a:tc>
                <a:tc>
                  <a:txBody>
                    <a:bodyPr/>
                    <a:lstStyle/>
                    <a:p>
                      <a:r>
                        <a:rPr lang="en-IN" dirty="0"/>
                        <a:t>0.477</a:t>
                      </a:r>
                    </a:p>
                  </a:txBody>
                  <a:tcPr/>
                </a:tc>
                <a:tc>
                  <a:txBody>
                    <a:bodyPr/>
                    <a:lstStyle/>
                    <a:p>
                      <a:r>
                        <a:rPr lang="en-IN" dirty="0"/>
                        <a:t>0.477</a:t>
                      </a:r>
                    </a:p>
                  </a:txBody>
                  <a:tcPr/>
                </a:tc>
                <a:tc>
                  <a:txBody>
                    <a:bodyPr/>
                    <a:lstStyle/>
                    <a:p>
                      <a:r>
                        <a:rPr lang="en-IN" dirty="0"/>
                        <a:t>0</a:t>
                      </a:r>
                    </a:p>
                  </a:txBody>
                  <a:tcPr/>
                </a:tc>
                <a:tc>
                  <a:txBody>
                    <a:bodyPr/>
                    <a:lstStyle/>
                    <a:p>
                      <a:r>
                        <a:rPr lang="en-IN" dirty="0"/>
                        <a:t>0.176</a:t>
                      </a:r>
                    </a:p>
                  </a:txBody>
                  <a:tcPr/>
                </a:tc>
                <a:tc>
                  <a:txBody>
                    <a:bodyPr/>
                    <a:lstStyle/>
                    <a:p>
                      <a:r>
                        <a:rPr lang="en-IN" dirty="0"/>
                        <a:t>0.477</a:t>
                      </a:r>
                    </a:p>
                  </a:txBody>
                  <a:tcPr/>
                </a:tc>
                <a:tc>
                  <a:txBody>
                    <a:bodyPr/>
                    <a:lstStyle/>
                    <a:p>
                      <a:r>
                        <a:rPr lang="en-IN" dirty="0"/>
                        <a:t>0.176</a:t>
                      </a:r>
                    </a:p>
                  </a:txBody>
                  <a:tcPr/>
                </a:tc>
                <a:tc>
                  <a:txBody>
                    <a:bodyPr/>
                    <a:lstStyle/>
                    <a:p>
                      <a:r>
                        <a:rPr lang="en-IN" dirty="0"/>
                        <a:t>0.477</a:t>
                      </a:r>
                    </a:p>
                  </a:txBody>
                  <a:tcPr/>
                </a:tc>
                <a:tc>
                  <a:txBody>
                    <a:bodyPr/>
                    <a:lstStyle/>
                    <a:p>
                      <a:r>
                        <a:rPr lang="en-IN" dirty="0"/>
                        <a:t>0.477</a:t>
                      </a:r>
                    </a:p>
                  </a:txBody>
                  <a:tcPr/>
                </a:tc>
                <a:tc>
                  <a:txBody>
                    <a:bodyPr/>
                    <a:lstStyle/>
                    <a:p>
                      <a:r>
                        <a:rPr lang="en-IN" dirty="0"/>
                        <a:t>0</a:t>
                      </a:r>
                    </a:p>
                  </a:txBody>
                  <a:tcPr/>
                </a:tc>
                <a:tc>
                  <a:txBody>
                    <a:bodyPr/>
                    <a:lstStyle/>
                    <a:p>
                      <a:r>
                        <a:rPr lang="en-IN" dirty="0"/>
                        <a:t>0.176</a:t>
                      </a:r>
                    </a:p>
                  </a:txBody>
                  <a:tcPr/>
                </a:tc>
                <a:tc>
                  <a:txBody>
                    <a:bodyPr/>
                    <a:lstStyle/>
                    <a:p>
                      <a:r>
                        <a:rPr lang="en-IN" dirty="0"/>
                        <a:t>0.477</a:t>
                      </a:r>
                    </a:p>
                  </a:txBody>
                  <a:tcPr/>
                </a:tc>
                <a:extLst>
                  <a:ext uri="{0D108BD9-81ED-4DB2-BD59-A6C34878D82A}">
                    <a16:rowId xmlns:a16="http://schemas.microsoft.com/office/drawing/2014/main" val="479839590"/>
                  </a:ext>
                </a:extLst>
              </a:tr>
            </a:tbl>
          </a:graphicData>
        </a:graphic>
      </p:graphicFrame>
    </p:spTree>
    <p:extLst>
      <p:ext uri="{BB962C8B-B14F-4D97-AF65-F5344CB8AC3E}">
        <p14:creationId xmlns:p14="http://schemas.microsoft.com/office/powerpoint/2010/main" val="21713963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C6FFF-FA4E-44F4-0801-0F4A0BF9743B}"/>
              </a:ext>
            </a:extLst>
          </p:cNvPr>
          <p:cNvSpPr>
            <a:spLocks noGrp="1"/>
          </p:cNvSpPr>
          <p:nvPr>
            <p:ph type="title"/>
          </p:nvPr>
        </p:nvSpPr>
        <p:spPr>
          <a:xfrm>
            <a:off x="762035" y="123158"/>
            <a:ext cx="9905998" cy="462338"/>
          </a:xfrm>
        </p:spPr>
        <p:txBody>
          <a:bodyPr>
            <a:normAutofit fontScale="90000"/>
          </a:bodyPr>
          <a:lstStyle/>
          <a:p>
            <a:r>
              <a:rPr lang="en-IN" dirty="0"/>
              <a:t>Calculating TF IDF</a:t>
            </a:r>
          </a:p>
        </p:txBody>
      </p:sp>
      <p:sp>
        <p:nvSpPr>
          <p:cNvPr id="3" name="Content Placeholder 2">
            <a:extLst>
              <a:ext uri="{FF2B5EF4-FFF2-40B4-BE49-F238E27FC236}">
                <a16:creationId xmlns:a16="http://schemas.microsoft.com/office/drawing/2014/main" id="{F7D0533B-C914-F540-4933-2A5184D8D653}"/>
              </a:ext>
            </a:extLst>
          </p:cNvPr>
          <p:cNvSpPr>
            <a:spLocks noGrp="1"/>
          </p:cNvSpPr>
          <p:nvPr>
            <p:ph idx="1"/>
          </p:nvPr>
        </p:nvSpPr>
        <p:spPr>
          <a:xfrm>
            <a:off x="606391" y="585496"/>
            <a:ext cx="9905999" cy="3541714"/>
          </a:xfrm>
        </p:spPr>
        <p:txBody>
          <a:bodyPr/>
          <a:lstStyle/>
          <a:p>
            <a:r>
              <a:rPr lang="en-IN" dirty="0"/>
              <a:t>Step 3 Compute TF-IDF Score  Table 1 X Table 2</a:t>
            </a:r>
          </a:p>
          <a:p>
            <a:endParaRPr lang="en-IN" dirty="0"/>
          </a:p>
        </p:txBody>
      </p:sp>
      <p:graphicFrame>
        <p:nvGraphicFramePr>
          <p:cNvPr id="4" name="Table 4">
            <a:extLst>
              <a:ext uri="{FF2B5EF4-FFF2-40B4-BE49-F238E27FC236}">
                <a16:creationId xmlns:a16="http://schemas.microsoft.com/office/drawing/2014/main" id="{2C74A6CA-FC87-C52D-B310-0A5AC2ADC466}"/>
              </a:ext>
            </a:extLst>
          </p:cNvPr>
          <p:cNvGraphicFramePr>
            <a:graphicFrameLocks noGrp="1"/>
          </p:cNvGraphicFramePr>
          <p:nvPr/>
        </p:nvGraphicFramePr>
        <p:xfrm>
          <a:off x="301559" y="1113556"/>
          <a:ext cx="11770465" cy="2033366"/>
        </p:xfrm>
        <a:graphic>
          <a:graphicData uri="http://schemas.openxmlformats.org/drawingml/2006/table">
            <a:tbl>
              <a:tblPr firstRow="1" bandRow="1">
                <a:tableStyleId>{327F97BB-C833-4FB7-BDE5-3F7075034690}</a:tableStyleId>
              </a:tblPr>
              <a:tblGrid>
                <a:gridCol w="797668">
                  <a:extLst>
                    <a:ext uri="{9D8B030D-6E8A-4147-A177-3AD203B41FA5}">
                      <a16:colId xmlns:a16="http://schemas.microsoft.com/office/drawing/2014/main" val="4121565808"/>
                    </a:ext>
                  </a:extLst>
                </a:gridCol>
                <a:gridCol w="670848">
                  <a:extLst>
                    <a:ext uri="{9D8B030D-6E8A-4147-A177-3AD203B41FA5}">
                      <a16:colId xmlns:a16="http://schemas.microsoft.com/office/drawing/2014/main" val="1106248886"/>
                    </a:ext>
                  </a:extLst>
                </a:gridCol>
                <a:gridCol w="734258">
                  <a:extLst>
                    <a:ext uri="{9D8B030D-6E8A-4147-A177-3AD203B41FA5}">
                      <a16:colId xmlns:a16="http://schemas.microsoft.com/office/drawing/2014/main" val="2349928215"/>
                    </a:ext>
                  </a:extLst>
                </a:gridCol>
                <a:gridCol w="491859">
                  <a:extLst>
                    <a:ext uri="{9D8B030D-6E8A-4147-A177-3AD203B41FA5}">
                      <a16:colId xmlns:a16="http://schemas.microsoft.com/office/drawing/2014/main" val="1119945274"/>
                    </a:ext>
                  </a:extLst>
                </a:gridCol>
                <a:gridCol w="675300">
                  <a:extLst>
                    <a:ext uri="{9D8B030D-6E8A-4147-A177-3AD203B41FA5}">
                      <a16:colId xmlns:a16="http://schemas.microsoft.com/office/drawing/2014/main" val="3927456623"/>
                    </a:ext>
                  </a:extLst>
                </a:gridCol>
                <a:gridCol w="418495">
                  <a:extLst>
                    <a:ext uri="{9D8B030D-6E8A-4147-A177-3AD203B41FA5}">
                      <a16:colId xmlns:a16="http://schemas.microsoft.com/office/drawing/2014/main" val="675188598"/>
                    </a:ext>
                  </a:extLst>
                </a:gridCol>
                <a:gridCol w="815814">
                  <a:extLst>
                    <a:ext uri="{9D8B030D-6E8A-4147-A177-3AD203B41FA5}">
                      <a16:colId xmlns:a16="http://schemas.microsoft.com/office/drawing/2014/main" val="2546599112"/>
                    </a:ext>
                  </a:extLst>
                </a:gridCol>
                <a:gridCol w="1179379">
                  <a:extLst>
                    <a:ext uri="{9D8B030D-6E8A-4147-A177-3AD203B41FA5}">
                      <a16:colId xmlns:a16="http://schemas.microsoft.com/office/drawing/2014/main" val="480876204"/>
                    </a:ext>
                  </a:extLst>
                </a:gridCol>
                <a:gridCol w="614284">
                  <a:extLst>
                    <a:ext uri="{9D8B030D-6E8A-4147-A177-3AD203B41FA5}">
                      <a16:colId xmlns:a16="http://schemas.microsoft.com/office/drawing/2014/main" val="3102961576"/>
                    </a:ext>
                  </a:extLst>
                </a:gridCol>
                <a:gridCol w="728270">
                  <a:extLst>
                    <a:ext uri="{9D8B030D-6E8A-4147-A177-3AD203B41FA5}">
                      <a16:colId xmlns:a16="http://schemas.microsoft.com/office/drawing/2014/main" val="1182987027"/>
                    </a:ext>
                  </a:extLst>
                </a:gridCol>
                <a:gridCol w="1161072">
                  <a:extLst>
                    <a:ext uri="{9D8B030D-6E8A-4147-A177-3AD203B41FA5}">
                      <a16:colId xmlns:a16="http://schemas.microsoft.com/office/drawing/2014/main" val="2601672166"/>
                    </a:ext>
                  </a:extLst>
                </a:gridCol>
                <a:gridCol w="1234406">
                  <a:extLst>
                    <a:ext uri="{9D8B030D-6E8A-4147-A177-3AD203B41FA5}">
                      <a16:colId xmlns:a16="http://schemas.microsoft.com/office/drawing/2014/main" val="3088416001"/>
                    </a:ext>
                  </a:extLst>
                </a:gridCol>
                <a:gridCol w="1087740">
                  <a:extLst>
                    <a:ext uri="{9D8B030D-6E8A-4147-A177-3AD203B41FA5}">
                      <a16:colId xmlns:a16="http://schemas.microsoft.com/office/drawing/2014/main" val="155732983"/>
                    </a:ext>
                  </a:extLst>
                </a:gridCol>
                <a:gridCol w="1161072">
                  <a:extLst>
                    <a:ext uri="{9D8B030D-6E8A-4147-A177-3AD203B41FA5}">
                      <a16:colId xmlns:a16="http://schemas.microsoft.com/office/drawing/2014/main" val="2779608597"/>
                    </a:ext>
                  </a:extLst>
                </a:gridCol>
              </a:tblGrid>
              <a:tr h="924257">
                <a:tc>
                  <a:txBody>
                    <a:bodyPr/>
                    <a:lstStyle/>
                    <a:p>
                      <a:r>
                        <a:rPr lang="en-IN" sz="1600" dirty="0"/>
                        <a:t>Terms/Doc</a:t>
                      </a:r>
                    </a:p>
                  </a:txBody>
                  <a:tcPr/>
                </a:tc>
                <a:tc>
                  <a:txBody>
                    <a:bodyPr/>
                    <a:lstStyle/>
                    <a:p>
                      <a:r>
                        <a:rPr lang="en-IN" sz="1600" dirty="0"/>
                        <a:t>and</a:t>
                      </a:r>
                    </a:p>
                  </a:txBody>
                  <a:tcPr/>
                </a:tc>
                <a:tc>
                  <a:txBody>
                    <a:bodyPr/>
                    <a:lstStyle/>
                    <a:p>
                      <a:r>
                        <a:rPr lang="en-IN" sz="1600" dirty="0"/>
                        <a:t>but</a:t>
                      </a:r>
                    </a:p>
                  </a:txBody>
                  <a:tcPr/>
                </a:tc>
                <a:tc>
                  <a:txBody>
                    <a:bodyPr/>
                    <a:lstStyle/>
                    <a:p>
                      <a:r>
                        <a:rPr lang="en-IN" sz="1600" dirty="0"/>
                        <a:t>by</a:t>
                      </a:r>
                    </a:p>
                  </a:txBody>
                  <a:tcPr/>
                </a:tc>
                <a:tc>
                  <a:txBody>
                    <a:bodyPr/>
                    <a:lstStyle/>
                    <a:p>
                      <a:r>
                        <a:rPr lang="en-IN" sz="1600" dirty="0"/>
                        <a:t>hate</a:t>
                      </a:r>
                    </a:p>
                  </a:txBody>
                  <a:tcPr/>
                </a:tc>
                <a:tc>
                  <a:txBody>
                    <a:bodyPr/>
                    <a:lstStyle/>
                    <a:p>
                      <a:r>
                        <a:rPr lang="en-IN" sz="1600" dirty="0"/>
                        <a:t>I</a:t>
                      </a:r>
                    </a:p>
                  </a:txBody>
                  <a:tcPr/>
                </a:tc>
                <a:tc>
                  <a:txBody>
                    <a:bodyPr/>
                    <a:lstStyle/>
                    <a:p>
                      <a:r>
                        <a:rPr lang="en-IN" sz="1600" dirty="0"/>
                        <a:t>image</a:t>
                      </a:r>
                    </a:p>
                  </a:txBody>
                  <a:tcPr/>
                </a:tc>
                <a:tc>
                  <a:txBody>
                    <a:bodyPr/>
                    <a:lstStyle/>
                    <a:p>
                      <a:r>
                        <a:rPr lang="en-IN" sz="1600" dirty="0"/>
                        <a:t>language</a:t>
                      </a:r>
                    </a:p>
                  </a:txBody>
                  <a:tcPr/>
                </a:tc>
                <a:tc>
                  <a:txBody>
                    <a:bodyPr/>
                    <a:lstStyle/>
                    <a:p>
                      <a:r>
                        <a:rPr lang="en-IN" sz="1600" dirty="0"/>
                        <a:t>like</a:t>
                      </a:r>
                    </a:p>
                  </a:txBody>
                  <a:tcPr/>
                </a:tc>
                <a:tc>
                  <a:txBody>
                    <a:bodyPr/>
                    <a:lstStyle/>
                    <a:p>
                      <a:r>
                        <a:rPr lang="en-IN" sz="1600" dirty="0"/>
                        <a:t>love</a:t>
                      </a:r>
                    </a:p>
                  </a:txBody>
                  <a:tcPr/>
                </a:tc>
                <a:tc>
                  <a:txBody>
                    <a:bodyPr/>
                    <a:lstStyle/>
                    <a:p>
                      <a:r>
                        <a:rPr lang="en-IN" sz="1600" dirty="0"/>
                        <a:t>natural</a:t>
                      </a:r>
                    </a:p>
                  </a:txBody>
                  <a:tcPr/>
                </a:tc>
                <a:tc>
                  <a:txBody>
                    <a:bodyPr/>
                    <a:lstStyle/>
                    <a:p>
                      <a:r>
                        <a:rPr lang="en-IN" sz="1600" dirty="0"/>
                        <a:t>processing</a:t>
                      </a:r>
                    </a:p>
                  </a:txBody>
                  <a:tcPr/>
                </a:tc>
                <a:tc>
                  <a:txBody>
                    <a:bodyPr/>
                    <a:lstStyle/>
                    <a:p>
                      <a:r>
                        <a:rPr lang="en-IN" sz="1600" dirty="0"/>
                        <a:t>python</a:t>
                      </a:r>
                    </a:p>
                  </a:txBody>
                  <a:tcPr/>
                </a:tc>
                <a:tc>
                  <a:txBody>
                    <a:bodyPr/>
                    <a:lstStyle/>
                    <a:p>
                      <a:r>
                        <a:rPr lang="en-IN" sz="1600" dirty="0"/>
                        <a:t>signal</a:t>
                      </a:r>
                    </a:p>
                  </a:txBody>
                  <a:tcPr/>
                </a:tc>
                <a:extLst>
                  <a:ext uri="{0D108BD9-81ED-4DB2-BD59-A6C34878D82A}">
                    <a16:rowId xmlns:a16="http://schemas.microsoft.com/office/drawing/2014/main" val="2639879364"/>
                  </a:ext>
                </a:extLst>
              </a:tr>
              <a:tr h="369703">
                <a:tc>
                  <a:txBody>
                    <a:bodyPr/>
                    <a:lstStyle/>
                    <a:p>
                      <a:r>
                        <a:rPr lang="en-IN" sz="1600" dirty="0"/>
                        <a:t>Doc1</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0</a:t>
                      </a:r>
                    </a:p>
                  </a:txBody>
                  <a:tcPr/>
                </a:tc>
                <a:extLst>
                  <a:ext uri="{0D108BD9-81ED-4DB2-BD59-A6C34878D82A}">
                    <a16:rowId xmlns:a16="http://schemas.microsoft.com/office/drawing/2014/main" val="1075798770"/>
                  </a:ext>
                </a:extLst>
              </a:tr>
              <a:tr h="369703">
                <a:tc>
                  <a:txBody>
                    <a:bodyPr/>
                    <a:lstStyle/>
                    <a:p>
                      <a:r>
                        <a:rPr lang="en-IN" sz="1600" dirty="0"/>
                        <a:t>Doc 2</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0</a:t>
                      </a:r>
                    </a:p>
                  </a:txBody>
                  <a:tcPr/>
                </a:tc>
                <a:extLst>
                  <a:ext uri="{0D108BD9-81ED-4DB2-BD59-A6C34878D82A}">
                    <a16:rowId xmlns:a16="http://schemas.microsoft.com/office/drawing/2014/main" val="510223563"/>
                  </a:ext>
                </a:extLst>
              </a:tr>
              <a:tr h="369703">
                <a:tc>
                  <a:txBody>
                    <a:bodyPr/>
                    <a:lstStyle/>
                    <a:p>
                      <a:r>
                        <a:rPr lang="en-IN" sz="1600" dirty="0"/>
                        <a:t>Doc 3</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1</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2</a:t>
                      </a:r>
                    </a:p>
                  </a:txBody>
                  <a:tcPr/>
                </a:tc>
                <a:tc>
                  <a:txBody>
                    <a:bodyPr/>
                    <a:lstStyle/>
                    <a:p>
                      <a:r>
                        <a:rPr lang="en-IN" sz="1600" dirty="0"/>
                        <a:t>0</a:t>
                      </a:r>
                    </a:p>
                  </a:txBody>
                  <a:tcPr/>
                </a:tc>
                <a:tc>
                  <a:txBody>
                    <a:bodyPr/>
                    <a:lstStyle/>
                    <a:p>
                      <a:r>
                        <a:rPr lang="en-IN" sz="1600" dirty="0"/>
                        <a:t>1</a:t>
                      </a:r>
                    </a:p>
                  </a:txBody>
                  <a:tcPr/>
                </a:tc>
                <a:extLst>
                  <a:ext uri="{0D108BD9-81ED-4DB2-BD59-A6C34878D82A}">
                    <a16:rowId xmlns:a16="http://schemas.microsoft.com/office/drawing/2014/main" val="1087582250"/>
                  </a:ext>
                </a:extLst>
              </a:tr>
            </a:tbl>
          </a:graphicData>
        </a:graphic>
      </p:graphicFrame>
      <p:graphicFrame>
        <p:nvGraphicFramePr>
          <p:cNvPr id="5" name="Table 7">
            <a:extLst>
              <a:ext uri="{FF2B5EF4-FFF2-40B4-BE49-F238E27FC236}">
                <a16:creationId xmlns:a16="http://schemas.microsoft.com/office/drawing/2014/main" id="{642D6B90-D579-DCD8-DEF3-9EB30F4DF6FF}"/>
              </a:ext>
            </a:extLst>
          </p:cNvPr>
          <p:cNvGraphicFramePr>
            <a:graphicFrameLocks noGrp="1"/>
          </p:cNvGraphicFramePr>
          <p:nvPr/>
        </p:nvGraphicFramePr>
        <p:xfrm>
          <a:off x="210768" y="3146922"/>
          <a:ext cx="11919623" cy="948537"/>
        </p:xfrm>
        <a:graphic>
          <a:graphicData uri="http://schemas.openxmlformats.org/drawingml/2006/table">
            <a:tbl>
              <a:tblPr firstRow="1" bandRow="1">
                <a:tableStyleId>{5C22544A-7EE6-4342-B048-85BDC9FD1C3A}</a:tableStyleId>
              </a:tblPr>
              <a:tblGrid>
                <a:gridCol w="700388">
                  <a:extLst>
                    <a:ext uri="{9D8B030D-6E8A-4147-A177-3AD203B41FA5}">
                      <a16:colId xmlns:a16="http://schemas.microsoft.com/office/drawing/2014/main" val="1832375912"/>
                    </a:ext>
                  </a:extLst>
                </a:gridCol>
                <a:gridCol w="875489">
                  <a:extLst>
                    <a:ext uri="{9D8B030D-6E8A-4147-A177-3AD203B41FA5}">
                      <a16:colId xmlns:a16="http://schemas.microsoft.com/office/drawing/2014/main" val="3013232219"/>
                    </a:ext>
                  </a:extLst>
                </a:gridCol>
                <a:gridCol w="836579">
                  <a:extLst>
                    <a:ext uri="{9D8B030D-6E8A-4147-A177-3AD203B41FA5}">
                      <a16:colId xmlns:a16="http://schemas.microsoft.com/office/drawing/2014/main" val="1717353455"/>
                    </a:ext>
                  </a:extLst>
                </a:gridCol>
                <a:gridCol w="746006">
                  <a:extLst>
                    <a:ext uri="{9D8B030D-6E8A-4147-A177-3AD203B41FA5}">
                      <a16:colId xmlns:a16="http://schemas.microsoft.com/office/drawing/2014/main" val="4288845744"/>
                    </a:ext>
                  </a:extLst>
                </a:gridCol>
                <a:gridCol w="773510">
                  <a:extLst>
                    <a:ext uri="{9D8B030D-6E8A-4147-A177-3AD203B41FA5}">
                      <a16:colId xmlns:a16="http://schemas.microsoft.com/office/drawing/2014/main" val="2630192916"/>
                    </a:ext>
                  </a:extLst>
                </a:gridCol>
                <a:gridCol w="534632">
                  <a:extLst>
                    <a:ext uri="{9D8B030D-6E8A-4147-A177-3AD203B41FA5}">
                      <a16:colId xmlns:a16="http://schemas.microsoft.com/office/drawing/2014/main" val="2274713972"/>
                    </a:ext>
                  </a:extLst>
                </a:gridCol>
                <a:gridCol w="989638">
                  <a:extLst>
                    <a:ext uri="{9D8B030D-6E8A-4147-A177-3AD203B41FA5}">
                      <a16:colId xmlns:a16="http://schemas.microsoft.com/office/drawing/2014/main" val="3607744576"/>
                    </a:ext>
                  </a:extLst>
                </a:gridCol>
                <a:gridCol w="1041831">
                  <a:extLst>
                    <a:ext uri="{9D8B030D-6E8A-4147-A177-3AD203B41FA5}">
                      <a16:colId xmlns:a16="http://schemas.microsoft.com/office/drawing/2014/main" val="2071916805"/>
                    </a:ext>
                  </a:extLst>
                </a:gridCol>
                <a:gridCol w="768485">
                  <a:extLst>
                    <a:ext uri="{9D8B030D-6E8A-4147-A177-3AD203B41FA5}">
                      <a16:colId xmlns:a16="http://schemas.microsoft.com/office/drawing/2014/main" val="2692792122"/>
                    </a:ext>
                  </a:extLst>
                </a:gridCol>
                <a:gridCol w="632298">
                  <a:extLst>
                    <a:ext uri="{9D8B030D-6E8A-4147-A177-3AD203B41FA5}">
                      <a16:colId xmlns:a16="http://schemas.microsoft.com/office/drawing/2014/main" val="3260607067"/>
                    </a:ext>
                  </a:extLst>
                </a:gridCol>
                <a:gridCol w="904672">
                  <a:extLst>
                    <a:ext uri="{9D8B030D-6E8A-4147-A177-3AD203B41FA5}">
                      <a16:colId xmlns:a16="http://schemas.microsoft.com/office/drawing/2014/main" val="204568611"/>
                    </a:ext>
                  </a:extLst>
                </a:gridCol>
                <a:gridCol w="1196502">
                  <a:extLst>
                    <a:ext uri="{9D8B030D-6E8A-4147-A177-3AD203B41FA5}">
                      <a16:colId xmlns:a16="http://schemas.microsoft.com/office/drawing/2014/main" val="2782353355"/>
                    </a:ext>
                  </a:extLst>
                </a:gridCol>
                <a:gridCol w="865762">
                  <a:extLst>
                    <a:ext uri="{9D8B030D-6E8A-4147-A177-3AD203B41FA5}">
                      <a16:colId xmlns:a16="http://schemas.microsoft.com/office/drawing/2014/main" val="2571891808"/>
                    </a:ext>
                  </a:extLst>
                </a:gridCol>
                <a:gridCol w="1053831">
                  <a:extLst>
                    <a:ext uri="{9D8B030D-6E8A-4147-A177-3AD203B41FA5}">
                      <a16:colId xmlns:a16="http://schemas.microsoft.com/office/drawing/2014/main" val="2277744887"/>
                    </a:ext>
                  </a:extLst>
                </a:gridCol>
              </a:tblGrid>
              <a:tr h="369417">
                <a:tc>
                  <a:txBody>
                    <a:bodyPr/>
                    <a:lstStyle/>
                    <a:p>
                      <a:r>
                        <a:rPr lang="en-IN" sz="1600" dirty="0"/>
                        <a:t>Term</a:t>
                      </a:r>
                    </a:p>
                  </a:txBody>
                  <a:tcPr/>
                </a:tc>
                <a:tc>
                  <a:txBody>
                    <a:bodyPr/>
                    <a:lstStyle/>
                    <a:p>
                      <a:r>
                        <a:rPr lang="en-IN" sz="1600" dirty="0"/>
                        <a:t>and</a:t>
                      </a:r>
                    </a:p>
                  </a:txBody>
                  <a:tcPr/>
                </a:tc>
                <a:tc>
                  <a:txBody>
                    <a:bodyPr/>
                    <a:lstStyle/>
                    <a:p>
                      <a:r>
                        <a:rPr lang="en-IN" sz="1600" dirty="0"/>
                        <a:t>but</a:t>
                      </a:r>
                    </a:p>
                  </a:txBody>
                  <a:tcPr/>
                </a:tc>
                <a:tc>
                  <a:txBody>
                    <a:bodyPr/>
                    <a:lstStyle/>
                    <a:p>
                      <a:r>
                        <a:rPr lang="en-IN" sz="1600" dirty="0"/>
                        <a:t>by</a:t>
                      </a:r>
                    </a:p>
                  </a:txBody>
                  <a:tcPr/>
                </a:tc>
                <a:tc>
                  <a:txBody>
                    <a:bodyPr/>
                    <a:lstStyle/>
                    <a:p>
                      <a:r>
                        <a:rPr lang="en-IN" sz="1600" dirty="0"/>
                        <a:t>hate</a:t>
                      </a:r>
                    </a:p>
                  </a:txBody>
                  <a:tcPr/>
                </a:tc>
                <a:tc>
                  <a:txBody>
                    <a:bodyPr/>
                    <a:lstStyle/>
                    <a:p>
                      <a:r>
                        <a:rPr lang="en-IN" sz="1600" dirty="0"/>
                        <a:t>I</a:t>
                      </a:r>
                    </a:p>
                  </a:txBody>
                  <a:tcPr/>
                </a:tc>
                <a:tc>
                  <a:txBody>
                    <a:bodyPr/>
                    <a:lstStyle/>
                    <a:p>
                      <a:r>
                        <a:rPr lang="en-IN" sz="1600" dirty="0"/>
                        <a:t>image</a:t>
                      </a:r>
                    </a:p>
                  </a:txBody>
                  <a:tcPr/>
                </a:tc>
                <a:tc>
                  <a:txBody>
                    <a:bodyPr/>
                    <a:lstStyle/>
                    <a:p>
                      <a:r>
                        <a:rPr lang="en-IN" sz="1600" dirty="0"/>
                        <a:t>language</a:t>
                      </a:r>
                    </a:p>
                  </a:txBody>
                  <a:tcPr/>
                </a:tc>
                <a:tc>
                  <a:txBody>
                    <a:bodyPr/>
                    <a:lstStyle/>
                    <a:p>
                      <a:r>
                        <a:rPr lang="en-IN" sz="1600" dirty="0"/>
                        <a:t>like</a:t>
                      </a:r>
                    </a:p>
                  </a:txBody>
                  <a:tcPr/>
                </a:tc>
                <a:tc>
                  <a:txBody>
                    <a:bodyPr/>
                    <a:lstStyle/>
                    <a:p>
                      <a:r>
                        <a:rPr lang="en-IN" sz="1600" dirty="0"/>
                        <a:t>love</a:t>
                      </a:r>
                    </a:p>
                  </a:txBody>
                  <a:tcPr/>
                </a:tc>
                <a:tc>
                  <a:txBody>
                    <a:bodyPr/>
                    <a:lstStyle/>
                    <a:p>
                      <a:r>
                        <a:rPr lang="en-IN" sz="1600" dirty="0"/>
                        <a:t>natural</a:t>
                      </a:r>
                    </a:p>
                  </a:txBody>
                  <a:tcPr/>
                </a:tc>
                <a:tc>
                  <a:txBody>
                    <a:bodyPr/>
                    <a:lstStyle/>
                    <a:p>
                      <a:r>
                        <a:rPr lang="en-IN" sz="1600" dirty="0"/>
                        <a:t>processing</a:t>
                      </a:r>
                    </a:p>
                  </a:txBody>
                  <a:tcPr/>
                </a:tc>
                <a:tc>
                  <a:txBody>
                    <a:bodyPr/>
                    <a:lstStyle/>
                    <a:p>
                      <a:r>
                        <a:rPr lang="en-IN" sz="1600" dirty="0"/>
                        <a:t>python</a:t>
                      </a:r>
                    </a:p>
                  </a:txBody>
                  <a:tcPr/>
                </a:tc>
                <a:tc>
                  <a:txBody>
                    <a:bodyPr/>
                    <a:lstStyle/>
                    <a:p>
                      <a:r>
                        <a:rPr lang="en-IN" sz="1600" dirty="0"/>
                        <a:t>signal</a:t>
                      </a:r>
                    </a:p>
                  </a:txBody>
                  <a:tcPr/>
                </a:tc>
                <a:extLst>
                  <a:ext uri="{0D108BD9-81ED-4DB2-BD59-A6C34878D82A}">
                    <a16:rowId xmlns:a16="http://schemas.microsoft.com/office/drawing/2014/main" val="2166138903"/>
                  </a:ext>
                </a:extLst>
              </a:tr>
              <a:tr h="343208">
                <a:tc>
                  <a:txBody>
                    <a:bodyPr/>
                    <a:lstStyle/>
                    <a:p>
                      <a:r>
                        <a:rPr lang="en-IN" sz="1600" dirty="0"/>
                        <a:t>IDF</a:t>
                      </a:r>
                    </a:p>
                  </a:txBody>
                  <a:tcPr/>
                </a:tc>
                <a:tc>
                  <a:txBody>
                    <a:bodyPr/>
                    <a:lstStyle/>
                    <a:p>
                      <a:r>
                        <a:rPr lang="en-IN" sz="1600" dirty="0"/>
                        <a:t>0.477</a:t>
                      </a:r>
                    </a:p>
                  </a:txBody>
                  <a:tcPr/>
                </a:tc>
                <a:tc>
                  <a:txBody>
                    <a:bodyPr/>
                    <a:lstStyle/>
                    <a:p>
                      <a:r>
                        <a:rPr lang="en-IN" sz="1600" dirty="0"/>
                        <a:t>0.477</a:t>
                      </a:r>
                    </a:p>
                  </a:txBody>
                  <a:tcPr/>
                </a:tc>
                <a:tc>
                  <a:txBody>
                    <a:bodyPr/>
                    <a:lstStyle/>
                    <a:p>
                      <a:r>
                        <a:rPr lang="en-IN" sz="1600" dirty="0"/>
                        <a:t>0.477</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477</a:t>
                      </a:r>
                    </a:p>
                  </a:txBody>
                  <a:tcPr/>
                </a:tc>
                <a:tc>
                  <a:txBody>
                    <a:bodyPr/>
                    <a:lstStyle/>
                    <a:p>
                      <a:r>
                        <a:rPr lang="en-IN" sz="1600" dirty="0"/>
                        <a:t>0.176</a:t>
                      </a:r>
                    </a:p>
                  </a:txBody>
                  <a:tcPr/>
                </a:tc>
                <a:tc>
                  <a:txBody>
                    <a:bodyPr/>
                    <a:lstStyle/>
                    <a:p>
                      <a:r>
                        <a:rPr lang="en-IN" sz="1600" dirty="0"/>
                        <a:t>0.477</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477</a:t>
                      </a:r>
                    </a:p>
                  </a:txBody>
                  <a:tcPr/>
                </a:tc>
                <a:extLst>
                  <a:ext uri="{0D108BD9-81ED-4DB2-BD59-A6C34878D82A}">
                    <a16:rowId xmlns:a16="http://schemas.microsoft.com/office/drawing/2014/main" val="479839590"/>
                  </a:ext>
                </a:extLst>
              </a:tr>
            </a:tbl>
          </a:graphicData>
        </a:graphic>
      </p:graphicFrame>
      <p:sp>
        <p:nvSpPr>
          <p:cNvPr id="6" name="TextBox 5">
            <a:extLst>
              <a:ext uri="{FF2B5EF4-FFF2-40B4-BE49-F238E27FC236}">
                <a16:creationId xmlns:a16="http://schemas.microsoft.com/office/drawing/2014/main" id="{B7F8BF58-6726-E941-5CAE-B7A1F7859294}"/>
              </a:ext>
            </a:extLst>
          </p:cNvPr>
          <p:cNvSpPr txBox="1"/>
          <p:nvPr/>
        </p:nvSpPr>
        <p:spPr>
          <a:xfrm>
            <a:off x="4421253" y="3082968"/>
            <a:ext cx="836579" cy="369332"/>
          </a:xfrm>
          <a:prstGeom prst="rect">
            <a:avLst/>
          </a:prstGeom>
          <a:noFill/>
        </p:spPr>
        <p:txBody>
          <a:bodyPr wrap="square" rtlCol="0">
            <a:spAutoFit/>
          </a:bodyPr>
          <a:lstStyle/>
          <a:p>
            <a:r>
              <a:rPr lang="en-IN" dirty="0"/>
              <a:t>X</a:t>
            </a:r>
          </a:p>
        </p:txBody>
      </p:sp>
      <p:graphicFrame>
        <p:nvGraphicFramePr>
          <p:cNvPr id="7" name="Table 4">
            <a:extLst>
              <a:ext uri="{FF2B5EF4-FFF2-40B4-BE49-F238E27FC236}">
                <a16:creationId xmlns:a16="http://schemas.microsoft.com/office/drawing/2014/main" id="{7BA61FE5-6E43-1FE7-101F-6A9AF5591C72}"/>
              </a:ext>
            </a:extLst>
          </p:cNvPr>
          <p:cNvGraphicFramePr>
            <a:graphicFrameLocks noGrp="1"/>
          </p:cNvGraphicFramePr>
          <p:nvPr/>
        </p:nvGraphicFramePr>
        <p:xfrm>
          <a:off x="210768" y="4095459"/>
          <a:ext cx="11880713" cy="2452200"/>
        </p:xfrm>
        <a:graphic>
          <a:graphicData uri="http://schemas.openxmlformats.org/drawingml/2006/table">
            <a:tbl>
              <a:tblPr firstRow="1" bandRow="1">
                <a:tableStyleId>{284E427A-3D55-4303-BF80-6455036E1DE7}</a:tableStyleId>
              </a:tblPr>
              <a:tblGrid>
                <a:gridCol w="723087">
                  <a:extLst>
                    <a:ext uri="{9D8B030D-6E8A-4147-A177-3AD203B41FA5}">
                      <a16:colId xmlns:a16="http://schemas.microsoft.com/office/drawing/2014/main" val="4121565808"/>
                    </a:ext>
                  </a:extLst>
                </a:gridCol>
                <a:gridCol w="661481">
                  <a:extLst>
                    <a:ext uri="{9D8B030D-6E8A-4147-A177-3AD203B41FA5}">
                      <a16:colId xmlns:a16="http://schemas.microsoft.com/office/drawing/2014/main" val="1106248886"/>
                    </a:ext>
                  </a:extLst>
                </a:gridCol>
                <a:gridCol w="818206">
                  <a:extLst>
                    <a:ext uri="{9D8B030D-6E8A-4147-A177-3AD203B41FA5}">
                      <a16:colId xmlns:a16="http://schemas.microsoft.com/office/drawing/2014/main" val="2349928215"/>
                    </a:ext>
                  </a:extLst>
                </a:gridCol>
                <a:gridCol w="786858">
                  <a:extLst>
                    <a:ext uri="{9D8B030D-6E8A-4147-A177-3AD203B41FA5}">
                      <a16:colId xmlns:a16="http://schemas.microsoft.com/office/drawing/2014/main" val="1119945274"/>
                    </a:ext>
                  </a:extLst>
                </a:gridCol>
                <a:gridCol w="535021">
                  <a:extLst>
                    <a:ext uri="{9D8B030D-6E8A-4147-A177-3AD203B41FA5}">
                      <a16:colId xmlns:a16="http://schemas.microsoft.com/office/drawing/2014/main" val="3927456623"/>
                    </a:ext>
                  </a:extLst>
                </a:gridCol>
                <a:gridCol w="263775">
                  <a:extLst>
                    <a:ext uri="{9D8B030D-6E8A-4147-A177-3AD203B41FA5}">
                      <a16:colId xmlns:a16="http://schemas.microsoft.com/office/drawing/2014/main" val="675188598"/>
                    </a:ext>
                  </a:extLst>
                </a:gridCol>
                <a:gridCol w="747902">
                  <a:extLst>
                    <a:ext uri="{9D8B030D-6E8A-4147-A177-3AD203B41FA5}">
                      <a16:colId xmlns:a16="http://schemas.microsoft.com/office/drawing/2014/main" val="2546599112"/>
                    </a:ext>
                  </a:extLst>
                </a:gridCol>
                <a:gridCol w="1001949">
                  <a:extLst>
                    <a:ext uri="{9D8B030D-6E8A-4147-A177-3AD203B41FA5}">
                      <a16:colId xmlns:a16="http://schemas.microsoft.com/office/drawing/2014/main" val="480876204"/>
                    </a:ext>
                  </a:extLst>
                </a:gridCol>
                <a:gridCol w="859626">
                  <a:extLst>
                    <a:ext uri="{9D8B030D-6E8A-4147-A177-3AD203B41FA5}">
                      <a16:colId xmlns:a16="http://schemas.microsoft.com/office/drawing/2014/main" val="3102961576"/>
                    </a:ext>
                  </a:extLst>
                </a:gridCol>
                <a:gridCol w="728270">
                  <a:extLst>
                    <a:ext uri="{9D8B030D-6E8A-4147-A177-3AD203B41FA5}">
                      <a16:colId xmlns:a16="http://schemas.microsoft.com/office/drawing/2014/main" val="1182987027"/>
                    </a:ext>
                  </a:extLst>
                </a:gridCol>
                <a:gridCol w="1161072">
                  <a:extLst>
                    <a:ext uri="{9D8B030D-6E8A-4147-A177-3AD203B41FA5}">
                      <a16:colId xmlns:a16="http://schemas.microsoft.com/office/drawing/2014/main" val="2601672166"/>
                    </a:ext>
                  </a:extLst>
                </a:gridCol>
                <a:gridCol w="1234406">
                  <a:extLst>
                    <a:ext uri="{9D8B030D-6E8A-4147-A177-3AD203B41FA5}">
                      <a16:colId xmlns:a16="http://schemas.microsoft.com/office/drawing/2014/main" val="3088416001"/>
                    </a:ext>
                  </a:extLst>
                </a:gridCol>
                <a:gridCol w="1087740">
                  <a:extLst>
                    <a:ext uri="{9D8B030D-6E8A-4147-A177-3AD203B41FA5}">
                      <a16:colId xmlns:a16="http://schemas.microsoft.com/office/drawing/2014/main" val="155732983"/>
                    </a:ext>
                  </a:extLst>
                </a:gridCol>
                <a:gridCol w="1271320">
                  <a:extLst>
                    <a:ext uri="{9D8B030D-6E8A-4147-A177-3AD203B41FA5}">
                      <a16:colId xmlns:a16="http://schemas.microsoft.com/office/drawing/2014/main" val="2779608597"/>
                    </a:ext>
                  </a:extLst>
                </a:gridCol>
              </a:tblGrid>
              <a:tr h="924257">
                <a:tc>
                  <a:txBody>
                    <a:bodyPr/>
                    <a:lstStyle/>
                    <a:p>
                      <a:r>
                        <a:rPr lang="en-IN" sz="1600" dirty="0"/>
                        <a:t>Terms/Doc</a:t>
                      </a:r>
                    </a:p>
                  </a:txBody>
                  <a:tcPr/>
                </a:tc>
                <a:tc>
                  <a:txBody>
                    <a:bodyPr/>
                    <a:lstStyle/>
                    <a:p>
                      <a:r>
                        <a:rPr lang="en-IN" sz="1600" dirty="0"/>
                        <a:t>and</a:t>
                      </a:r>
                    </a:p>
                  </a:txBody>
                  <a:tcPr/>
                </a:tc>
                <a:tc>
                  <a:txBody>
                    <a:bodyPr/>
                    <a:lstStyle/>
                    <a:p>
                      <a:r>
                        <a:rPr lang="en-IN" sz="1600" dirty="0"/>
                        <a:t>but</a:t>
                      </a:r>
                    </a:p>
                  </a:txBody>
                  <a:tcPr/>
                </a:tc>
                <a:tc>
                  <a:txBody>
                    <a:bodyPr/>
                    <a:lstStyle/>
                    <a:p>
                      <a:r>
                        <a:rPr lang="en-IN" sz="1600" dirty="0"/>
                        <a:t>by</a:t>
                      </a:r>
                    </a:p>
                  </a:txBody>
                  <a:tcPr/>
                </a:tc>
                <a:tc>
                  <a:txBody>
                    <a:bodyPr/>
                    <a:lstStyle/>
                    <a:p>
                      <a:r>
                        <a:rPr lang="en-IN" sz="1600" dirty="0"/>
                        <a:t>hate</a:t>
                      </a:r>
                    </a:p>
                  </a:txBody>
                  <a:tcPr/>
                </a:tc>
                <a:tc>
                  <a:txBody>
                    <a:bodyPr/>
                    <a:lstStyle/>
                    <a:p>
                      <a:r>
                        <a:rPr lang="en-IN" sz="1600" dirty="0"/>
                        <a:t>I</a:t>
                      </a:r>
                    </a:p>
                  </a:txBody>
                  <a:tcPr/>
                </a:tc>
                <a:tc>
                  <a:txBody>
                    <a:bodyPr/>
                    <a:lstStyle/>
                    <a:p>
                      <a:r>
                        <a:rPr lang="en-IN" sz="1600" dirty="0"/>
                        <a:t>image</a:t>
                      </a:r>
                    </a:p>
                  </a:txBody>
                  <a:tcPr/>
                </a:tc>
                <a:tc>
                  <a:txBody>
                    <a:bodyPr/>
                    <a:lstStyle/>
                    <a:p>
                      <a:r>
                        <a:rPr lang="en-IN" sz="1600" dirty="0"/>
                        <a:t>language</a:t>
                      </a:r>
                    </a:p>
                  </a:txBody>
                  <a:tcPr/>
                </a:tc>
                <a:tc>
                  <a:txBody>
                    <a:bodyPr/>
                    <a:lstStyle/>
                    <a:p>
                      <a:r>
                        <a:rPr lang="en-IN" sz="1600" dirty="0"/>
                        <a:t>like</a:t>
                      </a:r>
                    </a:p>
                  </a:txBody>
                  <a:tcPr/>
                </a:tc>
                <a:tc>
                  <a:txBody>
                    <a:bodyPr/>
                    <a:lstStyle/>
                    <a:p>
                      <a:r>
                        <a:rPr lang="en-IN" sz="1600" dirty="0"/>
                        <a:t>love</a:t>
                      </a:r>
                    </a:p>
                  </a:txBody>
                  <a:tcPr/>
                </a:tc>
                <a:tc>
                  <a:txBody>
                    <a:bodyPr/>
                    <a:lstStyle/>
                    <a:p>
                      <a:r>
                        <a:rPr lang="en-IN" sz="1600" dirty="0"/>
                        <a:t>natural</a:t>
                      </a:r>
                    </a:p>
                  </a:txBody>
                  <a:tcPr/>
                </a:tc>
                <a:tc>
                  <a:txBody>
                    <a:bodyPr/>
                    <a:lstStyle/>
                    <a:p>
                      <a:r>
                        <a:rPr lang="en-IN" sz="1600" dirty="0"/>
                        <a:t>processing</a:t>
                      </a:r>
                    </a:p>
                  </a:txBody>
                  <a:tcPr/>
                </a:tc>
                <a:tc>
                  <a:txBody>
                    <a:bodyPr/>
                    <a:lstStyle/>
                    <a:p>
                      <a:r>
                        <a:rPr lang="en-IN" sz="1600" dirty="0"/>
                        <a:t>python</a:t>
                      </a:r>
                    </a:p>
                  </a:txBody>
                  <a:tcPr/>
                </a:tc>
                <a:tc>
                  <a:txBody>
                    <a:bodyPr/>
                    <a:lstStyle/>
                    <a:p>
                      <a:r>
                        <a:rPr lang="en-IN" sz="1600" dirty="0"/>
                        <a:t>signal</a:t>
                      </a:r>
                    </a:p>
                  </a:txBody>
                  <a:tcPr/>
                </a:tc>
                <a:extLst>
                  <a:ext uri="{0D108BD9-81ED-4DB2-BD59-A6C34878D82A}">
                    <a16:rowId xmlns:a16="http://schemas.microsoft.com/office/drawing/2014/main" val="2639879364"/>
                  </a:ext>
                </a:extLst>
              </a:tr>
              <a:tr h="369703">
                <a:tc>
                  <a:txBody>
                    <a:bodyPr/>
                    <a:lstStyle/>
                    <a:p>
                      <a:r>
                        <a:rPr lang="en-IN" sz="1600" dirty="0"/>
                        <a:t>Doc1</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477</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extLst>
                  <a:ext uri="{0D108BD9-81ED-4DB2-BD59-A6C34878D82A}">
                    <a16:rowId xmlns:a16="http://schemas.microsoft.com/office/drawing/2014/main" val="1075798770"/>
                  </a:ext>
                </a:extLst>
              </a:tr>
              <a:tr h="369703">
                <a:tc>
                  <a:txBody>
                    <a:bodyPr/>
                    <a:lstStyle/>
                    <a:p>
                      <a:r>
                        <a:rPr lang="en-IN" sz="1600" dirty="0"/>
                        <a:t>Doc 2</a:t>
                      </a:r>
                    </a:p>
                  </a:txBody>
                  <a:tcPr/>
                </a:tc>
                <a:tc>
                  <a:txBody>
                    <a:bodyPr/>
                    <a:lstStyle/>
                    <a:p>
                      <a:r>
                        <a:rPr lang="en-IN" sz="1600" dirty="0"/>
                        <a:t>0</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extLst>
                  <a:ext uri="{0D108BD9-81ED-4DB2-BD59-A6C34878D82A}">
                    <a16:rowId xmlns:a16="http://schemas.microsoft.com/office/drawing/2014/main" val="510223563"/>
                  </a:ext>
                </a:extLst>
              </a:tr>
              <a:tr h="369703">
                <a:tc>
                  <a:txBody>
                    <a:bodyPr/>
                    <a:lstStyle/>
                    <a:p>
                      <a:r>
                        <a:rPr lang="en-IN" sz="1600" dirty="0"/>
                        <a:t>Doc 3</a:t>
                      </a:r>
                    </a:p>
                  </a:txBody>
                  <a:tcPr/>
                </a:tc>
                <a:tc>
                  <a:txBody>
                    <a:bodyPr/>
                    <a:lstStyle/>
                    <a:p>
                      <a:r>
                        <a:rPr lang="en-IN" sz="1600" dirty="0"/>
                        <a:t>0.477</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tc>
                  <a:txBody>
                    <a:bodyPr/>
                    <a:lstStyle/>
                    <a:p>
                      <a:r>
                        <a:rPr lang="en-IN" sz="1600" dirty="0"/>
                        <a:t>0.176</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a:t>
                      </a:r>
                    </a:p>
                  </a:txBody>
                  <a:tcPr/>
                </a:tc>
                <a:tc>
                  <a:txBody>
                    <a:bodyPr/>
                    <a:lstStyle/>
                    <a:p>
                      <a:r>
                        <a:rPr lang="en-IN" sz="1600" dirty="0"/>
                        <a:t>0.477</a:t>
                      </a:r>
                    </a:p>
                  </a:txBody>
                  <a:tcPr/>
                </a:tc>
                <a:extLst>
                  <a:ext uri="{0D108BD9-81ED-4DB2-BD59-A6C34878D82A}">
                    <a16:rowId xmlns:a16="http://schemas.microsoft.com/office/drawing/2014/main" val="1087582250"/>
                  </a:ext>
                </a:extLst>
              </a:tr>
            </a:tbl>
          </a:graphicData>
        </a:graphic>
      </p:graphicFrame>
    </p:spTree>
    <p:extLst>
      <p:ext uri="{BB962C8B-B14F-4D97-AF65-F5344CB8AC3E}">
        <p14:creationId xmlns:p14="http://schemas.microsoft.com/office/powerpoint/2010/main" val="394992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0F3418-E553-76EE-1771-CF4696AD2336}"/>
              </a:ext>
            </a:extLst>
          </p:cNvPr>
          <p:cNvSpPr>
            <a:spLocks noGrp="1"/>
          </p:cNvSpPr>
          <p:nvPr>
            <p:ph type="title"/>
          </p:nvPr>
        </p:nvSpPr>
        <p:spPr>
          <a:xfrm>
            <a:off x="1371599" y="294538"/>
            <a:ext cx="9895951" cy="1033669"/>
          </a:xfrm>
        </p:spPr>
        <p:txBody>
          <a:bodyPr>
            <a:normAutofit fontScale="90000"/>
          </a:bodyPr>
          <a:lstStyle/>
          <a:p>
            <a:r>
              <a:rPr lang="en-US" sz="7200" dirty="0"/>
              <a:t>Why ?????????</a:t>
            </a:r>
            <a:endParaRPr lang="en-IN" sz="4000" dirty="0">
              <a:solidFill>
                <a:srgbClr val="FFFFFF"/>
              </a:solidFill>
            </a:endParaRPr>
          </a:p>
        </p:txBody>
      </p:sp>
      <p:sp>
        <p:nvSpPr>
          <p:cNvPr id="3" name="Text Placeholder 2">
            <a:extLst>
              <a:ext uri="{FF2B5EF4-FFF2-40B4-BE49-F238E27FC236}">
                <a16:creationId xmlns:a16="http://schemas.microsoft.com/office/drawing/2014/main" id="{CD35789E-990F-B248-3ECC-22322283C28E}"/>
              </a:ext>
            </a:extLst>
          </p:cNvPr>
          <p:cNvSpPr>
            <a:spLocks noGrp="1"/>
          </p:cNvSpPr>
          <p:nvPr>
            <p:ph type="body" idx="1"/>
          </p:nvPr>
        </p:nvSpPr>
        <p:spPr>
          <a:xfrm>
            <a:off x="1233981" y="1666268"/>
            <a:ext cx="9724031" cy="3571875"/>
          </a:xfrm>
        </p:spPr>
        <p:txBody>
          <a:bodyPr anchor="ctr">
            <a:normAutofit fontScale="92500" lnSpcReduction="10000"/>
          </a:bodyPr>
          <a:lstStyle/>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NLP plays a pivotal role in bridging the gap between human communication and machine understanding.</a:t>
            </a:r>
          </a:p>
          <a:p>
            <a:pPr marL="342900" indent="-342900">
              <a:buFont typeface="Arial" panose="020B0604020202020204" pitchFamily="34" charset="0"/>
              <a:buChar char="•"/>
            </a:pPr>
            <a:r>
              <a:rPr lang="en-US" sz="2400" dirty="0"/>
              <a:t>NLP harness the power of human language to improve various aspects of technology, communication, and decision-making.</a:t>
            </a:r>
          </a:p>
          <a:p>
            <a:pPr marL="342900" indent="-342900">
              <a:buFont typeface="Arial" panose="020B0604020202020204" pitchFamily="34" charset="0"/>
              <a:buChar char="•"/>
            </a:pPr>
            <a:r>
              <a:rPr lang="en-US" sz="2400" dirty="0"/>
              <a:t> It’s impact spans across industries and domains including healthcare, finance, education, banking , energy ,  oil and gas </a:t>
            </a:r>
            <a:r>
              <a:rPr lang="en-US" sz="2400" dirty="0" err="1"/>
              <a:t>etc</a:t>
            </a:r>
            <a:endParaRPr lang="en-US" sz="2400" dirty="0"/>
          </a:p>
          <a:p>
            <a:pPr marL="342900" indent="-342900">
              <a:buFont typeface="Arial" panose="020B0604020202020204" pitchFamily="34" charset="0"/>
              <a:buChar char="•"/>
            </a:pPr>
            <a:r>
              <a:rPr lang="en-US" sz="2400" dirty="0"/>
              <a:t>NLP automates tasks that traditionally required human intervention, such as data entry, content generation, and customer support.</a:t>
            </a:r>
          </a:p>
          <a:p>
            <a:pPr marL="342900" indent="-342900">
              <a:buFont typeface="Arial" panose="020B0604020202020204" pitchFamily="34" charset="0"/>
              <a:buChar char="•"/>
            </a:pPr>
            <a:r>
              <a:rPr lang="en-US" sz="2400" dirty="0"/>
              <a:t>NLP is vital to process tons of unstructured data , to extract insights and helps business leaders  to make informed decisions.</a:t>
            </a:r>
          </a:p>
          <a:p>
            <a:endParaRPr lang="en-IN" sz="2000" dirty="0"/>
          </a:p>
        </p:txBody>
      </p:sp>
      <p:graphicFrame>
        <p:nvGraphicFramePr>
          <p:cNvPr id="32" name="TextBox 5">
            <a:extLst>
              <a:ext uri="{FF2B5EF4-FFF2-40B4-BE49-F238E27FC236}">
                <a16:creationId xmlns:a16="http://schemas.microsoft.com/office/drawing/2014/main" id="{E4745DB7-54B1-158B-4649-3C8E632B2EDD}"/>
              </a:ext>
            </a:extLst>
          </p:cNvPr>
          <p:cNvGraphicFramePr/>
          <p:nvPr>
            <p:extLst>
              <p:ext uri="{D42A27DB-BD31-4B8C-83A1-F6EECF244321}">
                <p14:modId xmlns:p14="http://schemas.microsoft.com/office/powerpoint/2010/main" val="2417956980"/>
              </p:ext>
            </p:extLst>
          </p:nvPr>
        </p:nvGraphicFramePr>
        <p:xfrm>
          <a:off x="283719" y="5096829"/>
          <a:ext cx="11732646" cy="15320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621982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1094E-317F-E35A-C3C1-871757163425}"/>
              </a:ext>
            </a:extLst>
          </p:cNvPr>
          <p:cNvSpPr>
            <a:spLocks noGrp="1"/>
          </p:cNvSpPr>
          <p:nvPr>
            <p:ph type="title"/>
          </p:nvPr>
        </p:nvSpPr>
        <p:spPr>
          <a:xfrm>
            <a:off x="1141413" y="618518"/>
            <a:ext cx="9905998" cy="636350"/>
          </a:xfrm>
        </p:spPr>
        <p:txBody>
          <a:bodyPr>
            <a:normAutofit fontScale="90000"/>
          </a:bodyPr>
          <a:lstStyle/>
          <a:p>
            <a:r>
              <a:rPr lang="en-IN" dirty="0"/>
              <a:t>Summary –Bags of Words , TF-IDF</a:t>
            </a:r>
          </a:p>
        </p:txBody>
      </p:sp>
      <p:sp>
        <p:nvSpPr>
          <p:cNvPr id="3" name="Content Placeholder 2">
            <a:extLst>
              <a:ext uri="{FF2B5EF4-FFF2-40B4-BE49-F238E27FC236}">
                <a16:creationId xmlns:a16="http://schemas.microsoft.com/office/drawing/2014/main" id="{9FACF697-D0BF-1C99-136D-A9C3F3F4091D}"/>
              </a:ext>
            </a:extLst>
          </p:cNvPr>
          <p:cNvSpPr>
            <a:spLocks noGrp="1"/>
          </p:cNvSpPr>
          <p:nvPr>
            <p:ph idx="1"/>
          </p:nvPr>
        </p:nvSpPr>
        <p:spPr>
          <a:xfrm>
            <a:off x="1053863" y="1481002"/>
            <a:ext cx="9905999" cy="3541714"/>
          </a:xfrm>
        </p:spPr>
        <p:txBody>
          <a:bodyPr>
            <a:noAutofit/>
          </a:bodyPr>
          <a:lstStyle/>
          <a:p>
            <a:r>
              <a:rPr lang="en-IN" sz="3200" dirty="0"/>
              <a:t>BOWS and TF-IDF are sparse vector representation. (</a:t>
            </a:r>
            <a:r>
              <a:rPr lang="en-US" sz="3200" b="0" i="0" dirty="0">
                <a:solidFill>
                  <a:srgbClr val="202124"/>
                </a:solidFill>
                <a:effectLst/>
                <a:latin typeface="arial" panose="020B0604020202020204" pitchFamily="34" charset="0"/>
              </a:rPr>
              <a:t>A sparse vector is </a:t>
            </a:r>
            <a:r>
              <a:rPr lang="en-US" sz="3200" b="1" i="0" dirty="0">
                <a:solidFill>
                  <a:srgbClr val="202124"/>
                </a:solidFill>
                <a:effectLst/>
                <a:latin typeface="arial" panose="020B0604020202020204" pitchFamily="34" charset="0"/>
              </a:rPr>
              <a:t>a vector having a relatively small number of nonzero elements)</a:t>
            </a:r>
          </a:p>
          <a:p>
            <a:r>
              <a:rPr lang="en-US" sz="3200" dirty="0"/>
              <a:t>It ignores the order of the word</a:t>
            </a:r>
          </a:p>
          <a:p>
            <a:r>
              <a:rPr lang="en-US" sz="3200" dirty="0"/>
              <a:t>It ignores the context of words</a:t>
            </a:r>
          </a:p>
          <a:p>
            <a:r>
              <a:rPr lang="en-US" sz="3200" dirty="0"/>
              <a:t>Computationally cheaper</a:t>
            </a:r>
          </a:p>
          <a:p>
            <a:r>
              <a:rPr lang="en-US" sz="3200" dirty="0"/>
              <a:t>Simple and easy to use</a:t>
            </a:r>
            <a:endParaRPr lang="en-IN" sz="3200" dirty="0"/>
          </a:p>
        </p:txBody>
      </p:sp>
    </p:spTree>
    <p:extLst>
      <p:ext uri="{BB962C8B-B14F-4D97-AF65-F5344CB8AC3E}">
        <p14:creationId xmlns:p14="http://schemas.microsoft.com/office/powerpoint/2010/main" val="15153997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37673-75CC-9D0D-F67B-A7CC4EDAE14F}"/>
              </a:ext>
            </a:extLst>
          </p:cNvPr>
          <p:cNvSpPr>
            <a:spLocks noGrp="1"/>
          </p:cNvSpPr>
          <p:nvPr>
            <p:ph type="title"/>
          </p:nvPr>
        </p:nvSpPr>
        <p:spPr>
          <a:xfrm>
            <a:off x="77910" y="0"/>
            <a:ext cx="12211664" cy="802348"/>
          </a:xfrm>
        </p:spPr>
        <p:txBody>
          <a:bodyPr>
            <a:normAutofit fontScale="90000"/>
          </a:bodyPr>
          <a:lstStyle/>
          <a:p>
            <a:r>
              <a:rPr lang="en-IN" dirty="0"/>
              <a:t>Word Embeddings –Word2Vec Representations</a:t>
            </a:r>
          </a:p>
        </p:txBody>
      </p:sp>
      <p:sp>
        <p:nvSpPr>
          <p:cNvPr id="3" name="Content Placeholder 2">
            <a:extLst>
              <a:ext uri="{FF2B5EF4-FFF2-40B4-BE49-F238E27FC236}">
                <a16:creationId xmlns:a16="http://schemas.microsoft.com/office/drawing/2014/main" id="{EC27FC36-63EA-026B-D003-80AD1E14D433}"/>
              </a:ext>
            </a:extLst>
          </p:cNvPr>
          <p:cNvSpPr>
            <a:spLocks noGrp="1"/>
          </p:cNvSpPr>
          <p:nvPr>
            <p:ph idx="1"/>
          </p:nvPr>
        </p:nvSpPr>
        <p:spPr>
          <a:xfrm>
            <a:off x="752306" y="797668"/>
            <a:ext cx="9905999" cy="5192172"/>
          </a:xfrm>
        </p:spPr>
        <p:txBody>
          <a:bodyPr/>
          <a:lstStyle/>
          <a:p>
            <a:r>
              <a:rPr lang="en-IN" dirty="0"/>
              <a:t>Dense Vector Representations. </a:t>
            </a:r>
            <a:r>
              <a:rPr lang="en-US" dirty="0"/>
              <a:t>The words that are similar will have similar vector. Word Embeddings are represented by a neural network model that clusters similar information and establish a relationship between them</a:t>
            </a:r>
          </a:p>
          <a:p>
            <a:r>
              <a:rPr lang="en-US" dirty="0"/>
              <a:t>set of word-vectors where vectors close together in vector space have similar meanings based on context, and word-vectors distant to each other have differing meanings</a:t>
            </a:r>
            <a:endParaRPr lang="en-IN" dirty="0"/>
          </a:p>
        </p:txBody>
      </p:sp>
      <p:grpSp>
        <p:nvGrpSpPr>
          <p:cNvPr id="11" name="Group 10">
            <a:extLst>
              <a:ext uri="{FF2B5EF4-FFF2-40B4-BE49-F238E27FC236}">
                <a16:creationId xmlns:a16="http://schemas.microsoft.com/office/drawing/2014/main" id="{0B0B0DCD-4D3E-3EEA-72E2-E57531F8FCD8}"/>
              </a:ext>
            </a:extLst>
          </p:cNvPr>
          <p:cNvGrpSpPr/>
          <p:nvPr/>
        </p:nvGrpSpPr>
        <p:grpSpPr>
          <a:xfrm>
            <a:off x="324914" y="3083236"/>
            <a:ext cx="11542172" cy="3136358"/>
            <a:chOff x="1" y="3578017"/>
            <a:chExt cx="11542172" cy="3108937"/>
          </a:xfrm>
        </p:grpSpPr>
        <p:graphicFrame>
          <p:nvGraphicFramePr>
            <p:cNvPr id="7" name="Diagram 6">
              <a:extLst>
                <a:ext uri="{FF2B5EF4-FFF2-40B4-BE49-F238E27FC236}">
                  <a16:creationId xmlns:a16="http://schemas.microsoft.com/office/drawing/2014/main" id="{52C70B77-69E3-EA4A-BFA8-16C9EBE4A293}"/>
                </a:ext>
              </a:extLst>
            </p:cNvPr>
            <p:cNvGraphicFramePr/>
            <p:nvPr/>
          </p:nvGraphicFramePr>
          <p:xfrm>
            <a:off x="8153706" y="3578017"/>
            <a:ext cx="3388467" cy="30724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0C685ECA-CFB2-D02F-EC5E-97A599E9E876}"/>
                </a:ext>
              </a:extLst>
            </p:cNvPr>
            <p:cNvGrpSpPr/>
            <p:nvPr/>
          </p:nvGrpSpPr>
          <p:grpSpPr>
            <a:xfrm>
              <a:off x="1" y="3725694"/>
              <a:ext cx="8153705" cy="2961260"/>
              <a:chOff x="1" y="3725694"/>
              <a:chExt cx="8153705" cy="2961260"/>
            </a:xfrm>
          </p:grpSpPr>
          <p:pic>
            <p:nvPicPr>
              <p:cNvPr id="6" name="Picture 5">
                <a:extLst>
                  <a:ext uri="{FF2B5EF4-FFF2-40B4-BE49-F238E27FC236}">
                    <a16:creationId xmlns:a16="http://schemas.microsoft.com/office/drawing/2014/main" id="{E703B98E-188D-8EFD-A4C1-E4391098137B}"/>
                  </a:ext>
                </a:extLst>
              </p:cNvPr>
              <p:cNvPicPr>
                <a:picLocks noChangeAspect="1"/>
              </p:cNvPicPr>
              <p:nvPr/>
            </p:nvPicPr>
            <p:blipFill>
              <a:blip r:embed="rId7"/>
              <a:stretch>
                <a:fillRect/>
              </a:stretch>
            </p:blipFill>
            <p:spPr>
              <a:xfrm>
                <a:off x="1" y="3725694"/>
                <a:ext cx="4062486" cy="2961260"/>
              </a:xfrm>
              <a:prstGeom prst="rect">
                <a:avLst/>
              </a:prstGeom>
            </p:spPr>
          </p:pic>
          <p:pic>
            <p:nvPicPr>
              <p:cNvPr id="9" name="Picture 8">
                <a:extLst>
                  <a:ext uri="{FF2B5EF4-FFF2-40B4-BE49-F238E27FC236}">
                    <a16:creationId xmlns:a16="http://schemas.microsoft.com/office/drawing/2014/main" id="{AC8C7EC2-2F76-E728-2AA8-7FECF89B4291}"/>
                  </a:ext>
                </a:extLst>
              </p:cNvPr>
              <p:cNvPicPr>
                <a:picLocks noChangeAspect="1"/>
              </p:cNvPicPr>
              <p:nvPr/>
            </p:nvPicPr>
            <p:blipFill>
              <a:blip r:embed="rId8"/>
              <a:stretch>
                <a:fillRect/>
              </a:stretch>
            </p:blipFill>
            <p:spPr>
              <a:xfrm>
                <a:off x="4038293" y="3725694"/>
                <a:ext cx="4115413" cy="2961260"/>
              </a:xfrm>
              <a:prstGeom prst="rect">
                <a:avLst/>
              </a:prstGeom>
            </p:spPr>
          </p:pic>
        </p:grpSp>
      </p:grpSp>
    </p:spTree>
    <p:extLst>
      <p:ext uri="{BB962C8B-B14F-4D97-AF65-F5344CB8AC3E}">
        <p14:creationId xmlns:p14="http://schemas.microsoft.com/office/powerpoint/2010/main" val="4936618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B3FCF-BF49-0B0D-5043-3A2595AF393F}"/>
              </a:ext>
            </a:extLst>
          </p:cNvPr>
          <p:cNvSpPr>
            <a:spLocks noGrp="1"/>
          </p:cNvSpPr>
          <p:nvPr>
            <p:ph type="title"/>
          </p:nvPr>
        </p:nvSpPr>
        <p:spPr>
          <a:xfrm>
            <a:off x="820399" y="154130"/>
            <a:ext cx="9905998" cy="519619"/>
          </a:xfrm>
        </p:spPr>
        <p:txBody>
          <a:bodyPr>
            <a:normAutofit fontScale="90000"/>
          </a:bodyPr>
          <a:lstStyle/>
          <a:p>
            <a:pPr algn="ctr"/>
            <a:r>
              <a:rPr lang="en-IN" dirty="0"/>
              <a:t>Regex- Regular Expressions</a:t>
            </a:r>
          </a:p>
        </p:txBody>
      </p:sp>
      <p:graphicFrame>
        <p:nvGraphicFramePr>
          <p:cNvPr id="4" name="Table 4">
            <a:extLst>
              <a:ext uri="{FF2B5EF4-FFF2-40B4-BE49-F238E27FC236}">
                <a16:creationId xmlns:a16="http://schemas.microsoft.com/office/drawing/2014/main" id="{CAB2A53F-2901-51F0-E9B2-3DBC7F4D9824}"/>
              </a:ext>
            </a:extLst>
          </p:cNvPr>
          <p:cNvGraphicFramePr>
            <a:graphicFrameLocks noGrp="1"/>
          </p:cNvGraphicFramePr>
          <p:nvPr>
            <p:extLst>
              <p:ext uri="{D42A27DB-BD31-4B8C-83A1-F6EECF244321}">
                <p14:modId xmlns:p14="http://schemas.microsoft.com/office/powerpoint/2010/main" val="1737234584"/>
              </p:ext>
            </p:extLst>
          </p:nvPr>
        </p:nvGraphicFramePr>
        <p:xfrm>
          <a:off x="141052" y="673749"/>
          <a:ext cx="12050948" cy="6310819"/>
        </p:xfrm>
        <a:graphic>
          <a:graphicData uri="http://schemas.openxmlformats.org/drawingml/2006/table">
            <a:tbl>
              <a:tblPr firstRow="1" bandRow="1">
                <a:tableStyleId>{F5AB1C69-6EDB-4FF4-983F-18BD219EF322}</a:tableStyleId>
              </a:tblPr>
              <a:tblGrid>
                <a:gridCol w="828039">
                  <a:extLst>
                    <a:ext uri="{9D8B030D-6E8A-4147-A177-3AD203B41FA5}">
                      <a16:colId xmlns:a16="http://schemas.microsoft.com/office/drawing/2014/main" val="1727210461"/>
                    </a:ext>
                  </a:extLst>
                </a:gridCol>
                <a:gridCol w="11222909">
                  <a:extLst>
                    <a:ext uri="{9D8B030D-6E8A-4147-A177-3AD203B41FA5}">
                      <a16:colId xmlns:a16="http://schemas.microsoft.com/office/drawing/2014/main" val="770529919"/>
                    </a:ext>
                  </a:extLst>
                </a:gridCol>
              </a:tblGrid>
              <a:tr h="582296">
                <a:tc>
                  <a:txBody>
                    <a:bodyPr/>
                    <a:lstStyle/>
                    <a:p>
                      <a:r>
                        <a:rPr lang="en-IN" dirty="0"/>
                        <a:t>  Meta Char</a:t>
                      </a:r>
                    </a:p>
                  </a:txBody>
                  <a:tcPr/>
                </a:tc>
                <a:tc>
                  <a:txBody>
                    <a:bodyPr/>
                    <a:lstStyle/>
                    <a:p>
                      <a:r>
                        <a:rPr lang="en-IN" dirty="0"/>
                        <a:t> Usage</a:t>
                      </a:r>
                    </a:p>
                  </a:txBody>
                  <a:tcPr/>
                </a:tc>
                <a:extLst>
                  <a:ext uri="{0D108BD9-81ED-4DB2-BD59-A6C34878D82A}">
                    <a16:rowId xmlns:a16="http://schemas.microsoft.com/office/drawing/2014/main" val="3591275622"/>
                  </a:ext>
                </a:extLst>
              </a:tr>
              <a:tr h="831851">
                <a:tc>
                  <a:txBody>
                    <a:bodyPr/>
                    <a:lstStyle/>
                    <a:p>
                      <a:r>
                        <a:rPr lang="en-IN" dirty="0"/>
                        <a:t>[ ]</a:t>
                      </a:r>
                    </a:p>
                  </a:txBody>
                  <a:tcPr/>
                </a:tc>
                <a:tc>
                  <a:txBody>
                    <a:bodyPr/>
                    <a:lstStyle/>
                    <a:p>
                      <a:r>
                        <a:rPr lang="en-IN" dirty="0"/>
                        <a:t>Character class. Specifies set of characters to match </a:t>
                      </a:r>
                      <a:r>
                        <a:rPr lang="en-IN" dirty="0" err="1"/>
                        <a:t>e.g</a:t>
                      </a:r>
                      <a:r>
                        <a:rPr lang="en-IN" dirty="0"/>
                        <a:t> [a-z] matches all alphabets in lower case </a:t>
                      </a:r>
                      <a:r>
                        <a:rPr lang="en-US" sz="1800" b="0" kern="1200" dirty="0">
                          <a:solidFill>
                            <a:schemeClr val="dk1"/>
                          </a:solidFill>
                          <a:effectLst/>
                        </a:rPr>
                        <a:t>Metacharacters (except </a:t>
                      </a:r>
                      <a:r>
                        <a:rPr lang="en-US" dirty="0">
                          <a:effectLst/>
                        </a:rPr>
                        <a:t>\</a:t>
                      </a:r>
                      <a:r>
                        <a:rPr lang="en-US" sz="1800" b="0" kern="1200" dirty="0">
                          <a:solidFill>
                            <a:schemeClr val="dk1"/>
                          </a:solidFill>
                          <a:effectLst/>
                        </a:rPr>
                        <a:t>) are not active inside classes. </a:t>
                      </a:r>
                      <a:r>
                        <a:rPr lang="en-IN" dirty="0"/>
                        <a:t>[^5] and matches any digit except 5 . [5^] matches to 5 or  ^. </a:t>
                      </a:r>
                      <a:r>
                        <a:rPr lang="en-US" sz="1800" b="0" kern="1200" dirty="0">
                          <a:solidFill>
                            <a:schemeClr val="dk1"/>
                          </a:solidFill>
                          <a:effectLst/>
                        </a:rPr>
                        <a:t>If the caret appears elsewhere in a character class(not in start inside character class), it does not have special meaning.</a:t>
                      </a:r>
                      <a:endParaRPr lang="en-IN" dirty="0"/>
                    </a:p>
                  </a:txBody>
                  <a:tcPr/>
                </a:tc>
                <a:extLst>
                  <a:ext uri="{0D108BD9-81ED-4DB2-BD59-A6C34878D82A}">
                    <a16:rowId xmlns:a16="http://schemas.microsoft.com/office/drawing/2014/main" val="2543442344"/>
                  </a:ext>
                </a:extLst>
              </a:tr>
              <a:tr h="582296">
                <a:tc>
                  <a:txBody>
                    <a:bodyPr/>
                    <a:lstStyle/>
                    <a:p>
                      <a:r>
                        <a:rPr lang="en-IN" dirty="0"/>
                        <a:t>\</a:t>
                      </a:r>
                    </a:p>
                  </a:txBody>
                  <a:tcPr/>
                </a:tc>
                <a:tc>
                  <a:txBody>
                    <a:bodyPr/>
                    <a:lstStyle/>
                    <a:p>
                      <a:r>
                        <a:rPr lang="en-US" sz="1800" b="0" kern="1200" dirty="0">
                          <a:solidFill>
                            <a:schemeClr val="dk1"/>
                          </a:solidFill>
                          <a:effectLst/>
                        </a:rPr>
                        <a:t>Signals a special sequence (can also be used to escape special characters)  \\ matches \ in a string \[ matches [ in a string.</a:t>
                      </a:r>
                      <a:endParaRPr lang="en-US"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752446935"/>
                  </a:ext>
                </a:extLst>
              </a:tr>
              <a:tr h="332741">
                <a:tc>
                  <a:txBody>
                    <a:bodyPr/>
                    <a:lstStyle/>
                    <a:p>
                      <a:r>
                        <a:rPr lang="en-IN" dirty="0"/>
                        <a:t>\w</a:t>
                      </a:r>
                    </a:p>
                  </a:txBody>
                  <a:tcPr/>
                </a:tc>
                <a:tc>
                  <a:txBody>
                    <a:bodyPr/>
                    <a:lstStyle/>
                    <a:p>
                      <a:r>
                        <a:rPr lang="en-US" dirty="0">
                          <a:effectLst/>
                        </a:rPr>
                        <a:t>Matches any alphanumeric character; this is equivalent to the class [a-zA-Z0-9_]</a:t>
                      </a:r>
                    </a:p>
                  </a:txBody>
                  <a:tcPr/>
                </a:tc>
                <a:extLst>
                  <a:ext uri="{0D108BD9-81ED-4DB2-BD59-A6C34878D82A}">
                    <a16:rowId xmlns:a16="http://schemas.microsoft.com/office/drawing/2014/main" val="1684115380"/>
                  </a:ext>
                </a:extLst>
              </a:tr>
              <a:tr h="582296">
                <a:tc>
                  <a:txBody>
                    <a:bodyPr/>
                    <a:lstStyle/>
                    <a:p>
                      <a:r>
                        <a:rPr lang="en-IN" dirty="0"/>
                        <a:t>\W</a:t>
                      </a:r>
                    </a:p>
                  </a:txBody>
                  <a:tcPr/>
                </a:tc>
                <a:tc>
                  <a:txBody>
                    <a:bodyPr/>
                    <a:lstStyle/>
                    <a:p>
                      <a:r>
                        <a:rPr lang="en-US" dirty="0">
                          <a:effectLst/>
                        </a:rPr>
                        <a:t>Matches any non-alphanumeric character; this is equivalent to the class [^a-zA-Z0-9_] (matches special characters)</a:t>
                      </a:r>
                    </a:p>
                  </a:txBody>
                  <a:tcPr/>
                </a:tc>
                <a:extLst>
                  <a:ext uri="{0D108BD9-81ED-4DB2-BD59-A6C34878D82A}">
                    <a16:rowId xmlns:a16="http://schemas.microsoft.com/office/drawing/2014/main" val="4058965290"/>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a:t>
                      </a:r>
                    </a:p>
                  </a:txBody>
                  <a:tcPr/>
                </a:tc>
                <a:tc>
                  <a:txBody>
                    <a:bodyPr/>
                    <a:lstStyle/>
                    <a:p>
                      <a:r>
                        <a:rPr lang="en-US" dirty="0">
                          <a:effectLst/>
                        </a:rPr>
                        <a:t>Matches any decimal digit; this is equivalent to the class [0-9].</a:t>
                      </a:r>
                    </a:p>
                  </a:txBody>
                  <a:tcPr/>
                </a:tc>
                <a:extLst>
                  <a:ext uri="{0D108BD9-81ED-4DB2-BD59-A6C34878D82A}">
                    <a16:rowId xmlns:a16="http://schemas.microsoft.com/office/drawing/2014/main" val="3512532292"/>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a:t>
                      </a:r>
                    </a:p>
                  </a:txBody>
                  <a:tcPr/>
                </a:tc>
                <a:tc>
                  <a:txBody>
                    <a:bodyPr/>
                    <a:lstStyle/>
                    <a:p>
                      <a:r>
                        <a:rPr lang="en-US" sz="1800" b="0" kern="1200" dirty="0">
                          <a:solidFill>
                            <a:schemeClr val="dk1"/>
                          </a:solidFill>
                          <a:effectLst/>
                        </a:rPr>
                        <a:t>Matches any non-digit character; this is equivalent to the class </a:t>
                      </a:r>
                      <a:r>
                        <a:rPr lang="en-US" dirty="0">
                          <a:effectLst/>
                        </a:rPr>
                        <a:t>[^0-9]</a:t>
                      </a:r>
                    </a:p>
                  </a:txBody>
                  <a:tcPr/>
                </a:tc>
                <a:extLst>
                  <a:ext uri="{0D108BD9-81ED-4DB2-BD59-A6C34878D82A}">
                    <a16:rowId xmlns:a16="http://schemas.microsoft.com/office/drawing/2014/main" val="1338036858"/>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Matches any whitespace character; this is equivalent to the class [ \t\n\r\f\v]</a:t>
                      </a:r>
                    </a:p>
                  </a:txBody>
                  <a:tcPr/>
                </a:tc>
                <a:extLst>
                  <a:ext uri="{0D108BD9-81ED-4DB2-BD59-A6C34878D82A}">
                    <a16:rowId xmlns:a16="http://schemas.microsoft.com/office/drawing/2014/main" val="2184726396"/>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S</a:t>
                      </a:r>
                    </a:p>
                  </a:txBody>
                  <a:tcPr/>
                </a:tc>
                <a:tc>
                  <a:txBody>
                    <a:bodyPr/>
                    <a:lstStyle/>
                    <a:p>
                      <a:r>
                        <a:rPr lang="en-US" dirty="0">
                          <a:effectLst/>
                        </a:rPr>
                        <a:t>Matches any non-whitespace character; this is equivalent to the class [^ \t\n\r\f\v].</a:t>
                      </a:r>
                    </a:p>
                  </a:txBody>
                  <a:tcPr/>
                </a:tc>
                <a:extLst>
                  <a:ext uri="{0D108BD9-81ED-4DB2-BD59-A6C34878D82A}">
                    <a16:rowId xmlns:a16="http://schemas.microsoft.com/office/drawing/2014/main" val="4001079629"/>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b</a:t>
                      </a:r>
                    </a:p>
                  </a:txBody>
                  <a:tcPr/>
                </a:tc>
                <a:tc>
                  <a:txBody>
                    <a:bodyPr/>
                    <a:lstStyle/>
                    <a:p>
                      <a:r>
                        <a:rPr lang="en-US" sz="1800" b="0" kern="1200" dirty="0">
                          <a:solidFill>
                            <a:schemeClr val="dk1"/>
                          </a:solidFill>
                          <a:effectLst/>
                        </a:rPr>
                        <a:t>Matches word boundaries when outside brackets. Matches backspace (0x08) when inside brackets.</a:t>
                      </a:r>
                      <a:endParaRPr lang="en-US" dirty="0">
                        <a:effectLst/>
                      </a:endParaRPr>
                    </a:p>
                  </a:txBody>
                  <a:tcPr/>
                </a:tc>
                <a:extLst>
                  <a:ext uri="{0D108BD9-81ED-4DB2-BD59-A6C34878D82A}">
                    <a16:rowId xmlns:a16="http://schemas.microsoft.com/office/drawing/2014/main" val="948868559"/>
                  </a:ext>
                </a:extLst>
              </a:tr>
              <a:tr h="33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ny character (except newline character)</a:t>
                      </a:r>
                    </a:p>
                  </a:txBody>
                  <a:tcPr/>
                </a:tc>
                <a:extLst>
                  <a:ext uri="{0D108BD9-81ED-4DB2-BD59-A6C34878D82A}">
                    <a16:rowId xmlns:a16="http://schemas.microsoft.com/office/drawing/2014/main" val="2436409008"/>
                  </a:ext>
                </a:extLst>
              </a:tr>
              <a:tr h="360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r>
                    </a:p>
                  </a:txBody>
                  <a:tcPr/>
                </a:tc>
                <a:tc>
                  <a:txBody>
                    <a:bodyPr/>
                    <a:lstStyle/>
                    <a:p>
                      <a:pPr algn="just" fontAlgn="t"/>
                      <a:r>
                        <a:rPr lang="en-IN" dirty="0">
                          <a:solidFill>
                            <a:srgbClr val="000000"/>
                          </a:solidFill>
                          <a:effectLst/>
                        </a:rPr>
                        <a:t>Matches beginning of line.</a:t>
                      </a:r>
                    </a:p>
                  </a:txBody>
                  <a:tcPr marL="60960" marR="60960" marT="60960" marB="60960"/>
                </a:tc>
                <a:extLst>
                  <a:ext uri="{0D108BD9-81ED-4DB2-BD59-A6C34878D82A}">
                    <a16:rowId xmlns:a16="http://schemas.microsoft.com/office/drawing/2014/main" val="3290971489"/>
                  </a:ext>
                </a:extLst>
              </a:tr>
              <a:tr h="5196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t>
                      </a:r>
                    </a:p>
                  </a:txBody>
                  <a:tcPr/>
                </a:tc>
                <a:tc>
                  <a:txBody>
                    <a:bodyPr/>
                    <a:lstStyle/>
                    <a:p>
                      <a:r>
                        <a:rPr lang="en-IN" sz="1800" b="0" kern="1200" dirty="0">
                          <a:solidFill>
                            <a:schemeClr val="dk1"/>
                          </a:solidFill>
                          <a:effectLst/>
                        </a:rPr>
                        <a:t>Matches end of line</a:t>
                      </a:r>
                      <a:endParaRPr lang="en-IN" dirty="0"/>
                    </a:p>
                  </a:txBody>
                  <a:tcPr/>
                </a:tc>
                <a:extLst>
                  <a:ext uri="{0D108BD9-81ED-4DB2-BD59-A6C34878D82A}">
                    <a16:rowId xmlns:a16="http://schemas.microsoft.com/office/drawing/2014/main" val="3898584565"/>
                  </a:ext>
                </a:extLst>
              </a:tr>
            </a:tbl>
          </a:graphicData>
        </a:graphic>
      </p:graphicFrame>
    </p:spTree>
    <p:extLst>
      <p:ext uri="{BB962C8B-B14F-4D97-AF65-F5344CB8AC3E}">
        <p14:creationId xmlns:p14="http://schemas.microsoft.com/office/powerpoint/2010/main" val="30504356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E33C2-1D26-E5AE-D446-653D52894517}"/>
              </a:ext>
            </a:extLst>
          </p:cNvPr>
          <p:cNvSpPr>
            <a:spLocks noGrp="1"/>
          </p:cNvSpPr>
          <p:nvPr>
            <p:ph type="title"/>
          </p:nvPr>
        </p:nvSpPr>
        <p:spPr>
          <a:xfrm>
            <a:off x="1141412" y="151590"/>
            <a:ext cx="9905998" cy="448281"/>
          </a:xfrm>
        </p:spPr>
        <p:txBody>
          <a:bodyPr>
            <a:normAutofit fontScale="90000"/>
          </a:bodyPr>
          <a:lstStyle/>
          <a:p>
            <a:pPr algn="ctr"/>
            <a:r>
              <a:rPr lang="en-IN" dirty="0"/>
              <a:t>Regex- Regular Expressions</a:t>
            </a:r>
          </a:p>
        </p:txBody>
      </p:sp>
      <p:graphicFrame>
        <p:nvGraphicFramePr>
          <p:cNvPr id="4" name="Table 4">
            <a:extLst>
              <a:ext uri="{FF2B5EF4-FFF2-40B4-BE49-F238E27FC236}">
                <a16:creationId xmlns:a16="http://schemas.microsoft.com/office/drawing/2014/main" id="{4C8EB26C-8AF3-9E41-8974-59CE83756424}"/>
              </a:ext>
            </a:extLst>
          </p:cNvPr>
          <p:cNvGraphicFramePr>
            <a:graphicFrameLocks noGrp="1"/>
          </p:cNvGraphicFramePr>
          <p:nvPr>
            <p:ph idx="1"/>
            <p:extLst>
              <p:ext uri="{D42A27DB-BD31-4B8C-83A1-F6EECF244321}">
                <p14:modId xmlns:p14="http://schemas.microsoft.com/office/powerpoint/2010/main" val="2278674564"/>
              </p:ext>
            </p:extLst>
          </p:nvPr>
        </p:nvGraphicFramePr>
        <p:xfrm>
          <a:off x="1141412" y="1266994"/>
          <a:ext cx="9251356" cy="4577080"/>
        </p:xfrm>
        <a:graphic>
          <a:graphicData uri="http://schemas.openxmlformats.org/drawingml/2006/table">
            <a:tbl>
              <a:tblPr firstRow="1" bandRow="1">
                <a:tableStyleId>{21E4AEA4-8DFA-4A89-87EB-49C32662AFE0}</a:tableStyleId>
              </a:tblPr>
              <a:tblGrid>
                <a:gridCol w="1219518">
                  <a:extLst>
                    <a:ext uri="{9D8B030D-6E8A-4147-A177-3AD203B41FA5}">
                      <a16:colId xmlns:a16="http://schemas.microsoft.com/office/drawing/2014/main" val="2259117732"/>
                    </a:ext>
                  </a:extLst>
                </a:gridCol>
                <a:gridCol w="8031838">
                  <a:extLst>
                    <a:ext uri="{9D8B030D-6E8A-4147-A177-3AD203B41FA5}">
                      <a16:colId xmlns:a16="http://schemas.microsoft.com/office/drawing/2014/main" val="2811515302"/>
                    </a:ext>
                  </a:extLst>
                </a:gridCol>
              </a:tblGrid>
              <a:tr h="370840">
                <a:tc>
                  <a:txBody>
                    <a:bodyPr/>
                    <a:lstStyle/>
                    <a:p>
                      <a:r>
                        <a:rPr lang="en-IN" dirty="0"/>
                        <a:t>Meta Char</a:t>
                      </a:r>
                    </a:p>
                  </a:txBody>
                  <a:tcPr/>
                </a:tc>
                <a:tc>
                  <a:txBody>
                    <a:bodyPr/>
                    <a:lstStyle/>
                    <a:p>
                      <a:r>
                        <a:rPr lang="en-IN" dirty="0"/>
                        <a:t>Usage</a:t>
                      </a:r>
                    </a:p>
                  </a:txBody>
                  <a:tcPr/>
                </a:tc>
                <a:extLst>
                  <a:ext uri="{0D108BD9-81ED-4DB2-BD59-A6C34878D82A}">
                    <a16:rowId xmlns:a16="http://schemas.microsoft.com/office/drawing/2014/main" val="390844906"/>
                  </a:ext>
                </a:extLst>
              </a:tr>
              <a:tr h="370840">
                <a:tc>
                  <a:txBody>
                    <a:bodyPr/>
                    <a:lstStyle/>
                    <a:p>
                      <a:pPr algn="l" fontAlgn="t"/>
                      <a:r>
                        <a:rPr lang="en-IN" dirty="0">
                          <a:effectLst/>
                        </a:rPr>
                        <a:t>*</a:t>
                      </a:r>
                    </a:p>
                  </a:txBody>
                  <a:tcPr marL="121920" marR="60960" marT="60960" marB="60960"/>
                </a:tc>
                <a:tc>
                  <a:txBody>
                    <a:bodyPr/>
                    <a:lstStyle/>
                    <a:p>
                      <a:pPr algn="l" fontAlgn="t"/>
                      <a:r>
                        <a:rPr lang="en-US" sz="1800" b="0" kern="1200" dirty="0">
                          <a:solidFill>
                            <a:schemeClr val="dk1"/>
                          </a:solidFill>
                          <a:effectLst/>
                        </a:rPr>
                        <a:t>zero or more repetitions of preceding element</a:t>
                      </a:r>
                      <a:endParaRPr lang="en-US" dirty="0">
                        <a:effectLst/>
                      </a:endParaRPr>
                    </a:p>
                  </a:txBody>
                  <a:tcPr marL="60960" marR="60960" marT="60960" marB="60960"/>
                </a:tc>
                <a:extLst>
                  <a:ext uri="{0D108BD9-81ED-4DB2-BD59-A6C34878D82A}">
                    <a16:rowId xmlns:a16="http://schemas.microsoft.com/office/drawing/2014/main" val="3177811066"/>
                  </a:ext>
                </a:extLst>
              </a:tr>
              <a:tr h="370840">
                <a:tc>
                  <a:txBody>
                    <a:bodyPr/>
                    <a:lstStyle/>
                    <a:p>
                      <a:pPr algn="l" fontAlgn="t"/>
                      <a:r>
                        <a:rPr lang="en-IN" dirty="0">
                          <a:effectLst/>
                        </a:rPr>
                        <a:t>+</a:t>
                      </a:r>
                    </a:p>
                  </a:txBody>
                  <a:tcPr marL="121920" marR="60960" marT="60960" marB="60960"/>
                </a:tc>
                <a:tc>
                  <a:txBody>
                    <a:bodyPr/>
                    <a:lstStyle/>
                    <a:p>
                      <a:pPr algn="l" fontAlgn="t"/>
                      <a:r>
                        <a:rPr lang="en-US" sz="1800" b="0" kern="1200" dirty="0">
                          <a:solidFill>
                            <a:schemeClr val="dk1"/>
                          </a:solidFill>
                          <a:effectLst/>
                        </a:rPr>
                        <a:t>one or more repetitions of preceding element</a:t>
                      </a:r>
                      <a:endParaRPr lang="en-IN" dirty="0">
                        <a:effectLst/>
                      </a:endParaRPr>
                    </a:p>
                  </a:txBody>
                  <a:tcPr marL="60960" marR="60960" marT="60960" marB="60960"/>
                </a:tc>
                <a:extLst>
                  <a:ext uri="{0D108BD9-81ED-4DB2-BD59-A6C34878D82A}">
                    <a16:rowId xmlns:a16="http://schemas.microsoft.com/office/drawing/2014/main" val="1596014692"/>
                  </a:ext>
                </a:extLst>
              </a:tr>
              <a:tr h="370840">
                <a:tc>
                  <a:txBody>
                    <a:bodyPr/>
                    <a:lstStyle/>
                    <a:p>
                      <a:pPr algn="l" fontAlgn="t"/>
                      <a:r>
                        <a:rPr lang="en-IN" dirty="0">
                          <a:effectLst/>
                        </a:rPr>
                        <a:t>?</a:t>
                      </a:r>
                    </a:p>
                  </a:txBody>
                  <a:tcPr marL="121920" marR="60960" marT="60960" marB="60960"/>
                </a:tc>
                <a:tc>
                  <a:txBody>
                    <a:bodyPr/>
                    <a:lstStyle/>
                    <a:p>
                      <a:pPr algn="l" fontAlgn="t"/>
                      <a:r>
                        <a:rPr lang="en-US" sz="1800" b="0" kern="1200" dirty="0">
                          <a:solidFill>
                            <a:schemeClr val="dk1"/>
                          </a:solidFill>
                          <a:effectLst/>
                        </a:rPr>
                        <a:t>zero or one repetition of preceding element</a:t>
                      </a:r>
                      <a:endParaRPr lang="en-IN" dirty="0">
                        <a:effectLst/>
                      </a:endParaRPr>
                    </a:p>
                  </a:txBody>
                  <a:tcPr marL="60960" marR="60960" marT="60960" marB="60960"/>
                </a:tc>
                <a:extLst>
                  <a:ext uri="{0D108BD9-81ED-4DB2-BD59-A6C34878D82A}">
                    <a16:rowId xmlns:a16="http://schemas.microsoft.com/office/drawing/2014/main" val="2533259278"/>
                  </a:ext>
                </a:extLst>
              </a:tr>
              <a:tr h="370840">
                <a:tc>
                  <a:txBody>
                    <a:bodyPr/>
                    <a:lstStyle/>
                    <a:p>
                      <a:r>
                        <a:rPr lang="en-IN" sz="1800" b="0" kern="1200" dirty="0">
                          <a:solidFill>
                            <a:schemeClr val="dk1"/>
                          </a:solidFill>
                          <a:effectLst/>
                        </a:rPr>
                        <a:t>{n}</a:t>
                      </a:r>
                      <a:endParaRPr lang="en-IN" dirty="0"/>
                    </a:p>
                  </a:txBody>
                  <a:tcPr/>
                </a:tc>
                <a:tc>
                  <a:txBody>
                    <a:bodyPr/>
                    <a:lstStyle/>
                    <a:p>
                      <a:r>
                        <a:rPr lang="en-US" sz="1800" b="0" kern="1200" dirty="0">
                          <a:solidFill>
                            <a:schemeClr val="dk1"/>
                          </a:solidFill>
                          <a:effectLst/>
                        </a:rPr>
                        <a:t>exactly n repetitions of preceding element</a:t>
                      </a:r>
                      <a:endParaRPr lang="en-IN" dirty="0"/>
                    </a:p>
                  </a:txBody>
                  <a:tcPr/>
                </a:tc>
                <a:extLst>
                  <a:ext uri="{0D108BD9-81ED-4DB2-BD59-A6C34878D82A}">
                    <a16:rowId xmlns:a16="http://schemas.microsoft.com/office/drawing/2014/main" val="1704917906"/>
                  </a:ext>
                </a:extLst>
              </a:tr>
              <a:tr h="370840">
                <a:tc>
                  <a:txBody>
                    <a:bodyPr/>
                    <a:lstStyle/>
                    <a:p>
                      <a:r>
                        <a:rPr lang="en-IN" dirty="0"/>
                        <a:t>{</a:t>
                      </a:r>
                      <a:r>
                        <a:rPr lang="en-IN" dirty="0" err="1"/>
                        <a:t>n,m</a:t>
                      </a:r>
                      <a:r>
                        <a:rPr lang="en-IN" dirty="0"/>
                        <a:t>}</a:t>
                      </a:r>
                    </a:p>
                  </a:txBody>
                  <a:tcPr/>
                </a:tc>
                <a:tc>
                  <a:txBody>
                    <a:bodyPr/>
                    <a:lstStyle/>
                    <a:p>
                      <a:r>
                        <a:rPr lang="en-US" sz="1800" b="0" kern="1200" dirty="0">
                          <a:solidFill>
                            <a:schemeClr val="dk1"/>
                          </a:solidFill>
                          <a:effectLst/>
                        </a:rPr>
                        <a:t>from n to m repetitions of preceding element</a:t>
                      </a:r>
                      <a:endParaRPr lang="en-IN" dirty="0"/>
                    </a:p>
                  </a:txBody>
                  <a:tcPr/>
                </a:tc>
                <a:extLst>
                  <a:ext uri="{0D108BD9-81ED-4DB2-BD59-A6C34878D82A}">
                    <a16:rowId xmlns:a16="http://schemas.microsoft.com/office/drawing/2014/main" val="3923545893"/>
                  </a:ext>
                </a:extLst>
              </a:tr>
              <a:tr h="370840">
                <a:tc>
                  <a:txBody>
                    <a:bodyPr/>
                    <a:lstStyle/>
                    <a:p>
                      <a:r>
                        <a:rPr lang="en-IN" dirty="0"/>
                        <a:t>{n,}</a:t>
                      </a:r>
                    </a:p>
                  </a:txBody>
                  <a:tcPr/>
                </a:tc>
                <a:tc>
                  <a:txBody>
                    <a:bodyPr/>
                    <a:lstStyle/>
                    <a:p>
                      <a:r>
                        <a:rPr lang="en-US" sz="1800" b="0" kern="1200" dirty="0">
                          <a:solidFill>
                            <a:schemeClr val="dk1"/>
                          </a:solidFill>
                          <a:effectLst/>
                        </a:rPr>
                        <a:t>n or more repetitions of preceding element</a:t>
                      </a:r>
                      <a:endParaRPr lang="en-IN" dirty="0"/>
                    </a:p>
                  </a:txBody>
                  <a:tcPr/>
                </a:tc>
                <a:extLst>
                  <a:ext uri="{0D108BD9-81ED-4DB2-BD59-A6C34878D82A}">
                    <a16:rowId xmlns:a16="http://schemas.microsoft.com/office/drawing/2014/main" val="429104242"/>
                  </a:ext>
                </a:extLst>
              </a:tr>
              <a:tr h="370840">
                <a:tc>
                  <a:txBody>
                    <a:bodyPr/>
                    <a:lstStyle/>
                    <a:p>
                      <a:r>
                        <a:rPr lang="en-IN" dirty="0"/>
                        <a:t>()</a:t>
                      </a:r>
                    </a:p>
                  </a:txBody>
                  <a:tcPr/>
                </a:tc>
                <a:tc>
                  <a:txBody>
                    <a:bodyPr/>
                    <a:lstStyle/>
                    <a:p>
                      <a:pPr algn="just" fontAlgn="t"/>
                      <a:r>
                        <a:rPr lang="en-US" dirty="0">
                          <a:solidFill>
                            <a:srgbClr val="000000"/>
                          </a:solidFill>
                          <a:effectLst/>
                        </a:rPr>
                        <a:t>Groups regular expressions and remembers matched text.</a:t>
                      </a:r>
                    </a:p>
                  </a:txBody>
                  <a:tcPr marL="60960" marR="60960" marT="60960" marB="60960"/>
                </a:tc>
                <a:extLst>
                  <a:ext uri="{0D108BD9-81ED-4DB2-BD59-A6C34878D82A}">
                    <a16:rowId xmlns:a16="http://schemas.microsoft.com/office/drawing/2014/main" val="129126833"/>
                  </a:ext>
                </a:extLst>
              </a:tr>
              <a:tr h="370840">
                <a:tc>
                  <a:txBody>
                    <a:bodyPr/>
                    <a:lstStyle/>
                    <a:p>
                      <a:r>
                        <a:rPr lang="en-IN" dirty="0"/>
                        <a:t>\A</a:t>
                      </a:r>
                    </a:p>
                  </a:txBody>
                  <a:tcPr/>
                </a:tc>
                <a:tc>
                  <a:txBody>
                    <a:bodyPr/>
                    <a:lstStyle/>
                    <a:p>
                      <a:r>
                        <a:rPr lang="en-IN" sz="1800" b="0" kern="1200" dirty="0">
                          <a:solidFill>
                            <a:schemeClr val="dk1"/>
                          </a:solidFill>
                          <a:effectLst/>
                        </a:rPr>
                        <a:t>Matches beginning of string.</a:t>
                      </a:r>
                      <a:endParaRPr lang="en-IN" dirty="0"/>
                    </a:p>
                  </a:txBody>
                  <a:tcPr/>
                </a:tc>
                <a:extLst>
                  <a:ext uri="{0D108BD9-81ED-4DB2-BD59-A6C34878D82A}">
                    <a16:rowId xmlns:a16="http://schemas.microsoft.com/office/drawing/2014/main" val="1486973836"/>
                  </a:ext>
                </a:extLst>
              </a:tr>
              <a:tr h="370840">
                <a:tc>
                  <a:txBody>
                    <a:bodyPr/>
                    <a:lstStyle/>
                    <a:p>
                      <a:r>
                        <a:rPr lang="en-IN" dirty="0"/>
                        <a:t>\Z</a:t>
                      </a:r>
                    </a:p>
                  </a:txBody>
                  <a:tcPr/>
                </a:tc>
                <a:tc>
                  <a:txBody>
                    <a:bodyPr/>
                    <a:lstStyle/>
                    <a:p>
                      <a:r>
                        <a:rPr lang="en-US" sz="1800" b="0" kern="1200" dirty="0">
                          <a:solidFill>
                            <a:schemeClr val="dk1"/>
                          </a:solidFill>
                          <a:effectLst/>
                        </a:rPr>
                        <a:t>Matches end of string. If a newline exists, it matches just before newline.</a:t>
                      </a:r>
                      <a:endParaRPr lang="en-IN" dirty="0"/>
                    </a:p>
                  </a:txBody>
                  <a:tcPr/>
                </a:tc>
                <a:extLst>
                  <a:ext uri="{0D108BD9-81ED-4DB2-BD59-A6C34878D82A}">
                    <a16:rowId xmlns:a16="http://schemas.microsoft.com/office/drawing/2014/main" val="3336006488"/>
                  </a:ext>
                </a:extLst>
              </a:tr>
              <a:tr h="370840">
                <a:tc>
                  <a:txBody>
                    <a:bodyPr/>
                    <a:lstStyle/>
                    <a:p>
                      <a:r>
                        <a:rPr lang="en-IN" dirty="0"/>
                        <a:t>\z</a:t>
                      </a:r>
                    </a:p>
                  </a:txBody>
                  <a:tcPr/>
                </a:tc>
                <a:tc>
                  <a:txBody>
                    <a:bodyPr/>
                    <a:lstStyle/>
                    <a:p>
                      <a:pPr algn="just" fontAlgn="t"/>
                      <a:r>
                        <a:rPr lang="en-IN" dirty="0">
                          <a:solidFill>
                            <a:srgbClr val="000000"/>
                          </a:solidFill>
                          <a:effectLst/>
                        </a:rPr>
                        <a:t>Matches end of string.</a:t>
                      </a:r>
                    </a:p>
                  </a:txBody>
                  <a:tcPr marL="60960" marR="60960" marT="60960" marB="60960"/>
                </a:tc>
                <a:extLst>
                  <a:ext uri="{0D108BD9-81ED-4DB2-BD59-A6C34878D82A}">
                    <a16:rowId xmlns:a16="http://schemas.microsoft.com/office/drawing/2014/main" val="198185109"/>
                  </a:ext>
                </a:extLst>
              </a:tr>
              <a:tr h="370840">
                <a:tc>
                  <a:txBody>
                    <a:bodyPr/>
                    <a:lstStyle/>
                    <a:p>
                      <a:r>
                        <a:rPr lang="en-IN" dirty="0"/>
                        <a:t>|</a:t>
                      </a:r>
                    </a:p>
                  </a:txBody>
                  <a:tcPr/>
                </a:tc>
                <a:tc>
                  <a:txBody>
                    <a:bodyPr/>
                    <a:lstStyle/>
                    <a:p>
                      <a:r>
                        <a:rPr lang="en-IN" dirty="0"/>
                        <a:t>Or </a:t>
                      </a:r>
                    </a:p>
                  </a:txBody>
                  <a:tcPr/>
                </a:tc>
                <a:extLst>
                  <a:ext uri="{0D108BD9-81ED-4DB2-BD59-A6C34878D82A}">
                    <a16:rowId xmlns:a16="http://schemas.microsoft.com/office/drawing/2014/main" val="2237994513"/>
                  </a:ext>
                </a:extLst>
              </a:tr>
            </a:tbl>
          </a:graphicData>
        </a:graphic>
      </p:graphicFrame>
    </p:spTree>
    <p:extLst>
      <p:ext uri="{BB962C8B-B14F-4D97-AF65-F5344CB8AC3E}">
        <p14:creationId xmlns:p14="http://schemas.microsoft.com/office/powerpoint/2010/main" val="21037189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7DBAB-0800-81A4-5D0D-6A4518DE3B7D}"/>
              </a:ext>
            </a:extLst>
          </p:cNvPr>
          <p:cNvSpPr>
            <a:spLocks noGrp="1"/>
          </p:cNvSpPr>
          <p:nvPr>
            <p:ph type="title"/>
          </p:nvPr>
        </p:nvSpPr>
        <p:spPr>
          <a:xfrm>
            <a:off x="285379" y="0"/>
            <a:ext cx="9905998" cy="733627"/>
          </a:xfrm>
        </p:spPr>
        <p:txBody>
          <a:bodyPr>
            <a:normAutofit fontScale="90000"/>
          </a:bodyPr>
          <a:lstStyle/>
          <a:p>
            <a:pPr algn="ctr"/>
            <a:r>
              <a:rPr lang="en-IN" dirty="0"/>
              <a:t>Regex Flags</a:t>
            </a:r>
          </a:p>
        </p:txBody>
      </p:sp>
      <p:graphicFrame>
        <p:nvGraphicFramePr>
          <p:cNvPr id="4" name="Table 4">
            <a:extLst>
              <a:ext uri="{FF2B5EF4-FFF2-40B4-BE49-F238E27FC236}">
                <a16:creationId xmlns:a16="http://schemas.microsoft.com/office/drawing/2014/main" id="{DFBE8A40-6BAA-2E1C-8D73-7A1C7D28B43C}"/>
              </a:ext>
            </a:extLst>
          </p:cNvPr>
          <p:cNvGraphicFramePr>
            <a:graphicFrameLocks noGrp="1"/>
          </p:cNvGraphicFramePr>
          <p:nvPr>
            <p:ph idx="1"/>
            <p:extLst>
              <p:ext uri="{D42A27DB-BD31-4B8C-83A1-F6EECF244321}">
                <p14:modId xmlns:p14="http://schemas.microsoft.com/office/powerpoint/2010/main" val="194570301"/>
              </p:ext>
            </p:extLst>
          </p:nvPr>
        </p:nvGraphicFramePr>
        <p:xfrm>
          <a:off x="116733" y="733627"/>
          <a:ext cx="11692646" cy="4851400"/>
        </p:xfrm>
        <a:graphic>
          <a:graphicData uri="http://schemas.openxmlformats.org/drawingml/2006/table">
            <a:tbl>
              <a:tblPr firstRow="1" bandRow="1">
                <a:tableStyleId>{21E4AEA4-8DFA-4A89-87EB-49C32662AFE0}</a:tableStyleId>
              </a:tblPr>
              <a:tblGrid>
                <a:gridCol w="1357676">
                  <a:extLst>
                    <a:ext uri="{9D8B030D-6E8A-4147-A177-3AD203B41FA5}">
                      <a16:colId xmlns:a16="http://schemas.microsoft.com/office/drawing/2014/main" val="970193310"/>
                    </a:ext>
                  </a:extLst>
                </a:gridCol>
                <a:gridCol w="2539871">
                  <a:extLst>
                    <a:ext uri="{9D8B030D-6E8A-4147-A177-3AD203B41FA5}">
                      <a16:colId xmlns:a16="http://schemas.microsoft.com/office/drawing/2014/main" val="3823987832"/>
                    </a:ext>
                  </a:extLst>
                </a:gridCol>
                <a:gridCol w="7795099">
                  <a:extLst>
                    <a:ext uri="{9D8B030D-6E8A-4147-A177-3AD203B41FA5}">
                      <a16:colId xmlns:a16="http://schemas.microsoft.com/office/drawing/2014/main" val="1684862368"/>
                    </a:ext>
                  </a:extLst>
                </a:gridCol>
              </a:tblGrid>
              <a:tr h="370840">
                <a:tc>
                  <a:txBody>
                    <a:bodyPr/>
                    <a:lstStyle/>
                    <a:p>
                      <a:r>
                        <a:rPr lang="en-IN" dirty="0"/>
                        <a:t>Flag</a:t>
                      </a:r>
                    </a:p>
                  </a:txBody>
                  <a:tcPr/>
                </a:tc>
                <a:tc>
                  <a:txBody>
                    <a:bodyPr/>
                    <a:lstStyle/>
                    <a:p>
                      <a:r>
                        <a:rPr lang="en-IN" dirty="0"/>
                        <a:t>Long syntax</a:t>
                      </a:r>
                    </a:p>
                  </a:txBody>
                  <a:tcPr/>
                </a:tc>
                <a:tc>
                  <a:txBody>
                    <a:bodyPr/>
                    <a:lstStyle/>
                    <a:p>
                      <a:r>
                        <a:rPr lang="en-IN" dirty="0"/>
                        <a:t>Meaning</a:t>
                      </a:r>
                    </a:p>
                  </a:txBody>
                  <a:tcPr/>
                </a:tc>
                <a:extLst>
                  <a:ext uri="{0D108BD9-81ED-4DB2-BD59-A6C34878D82A}">
                    <a16:rowId xmlns:a16="http://schemas.microsoft.com/office/drawing/2014/main" val="1548325872"/>
                  </a:ext>
                </a:extLst>
              </a:tr>
              <a:tr h="370840">
                <a:tc>
                  <a:txBody>
                    <a:bodyPr/>
                    <a:lstStyle/>
                    <a:p>
                      <a:pPr algn="l" fontAlgn="ctr"/>
                      <a:r>
                        <a:rPr lang="en-IN" dirty="0" err="1">
                          <a:effectLst/>
                        </a:rPr>
                        <a:t>re.A</a:t>
                      </a:r>
                      <a:endParaRPr lang="en-IN" dirty="0">
                        <a:effectLst/>
                      </a:endParaRPr>
                    </a:p>
                  </a:txBody>
                  <a:tcPr marL="76200" marR="76200" marT="76200" marB="76200" anchor="ctr"/>
                </a:tc>
                <a:tc>
                  <a:txBody>
                    <a:bodyPr/>
                    <a:lstStyle/>
                    <a:p>
                      <a:pPr algn="l" fontAlgn="ctr"/>
                      <a:r>
                        <a:rPr lang="en-IN" dirty="0" err="1">
                          <a:effectLst/>
                        </a:rPr>
                        <a:t>re.ASCII</a:t>
                      </a:r>
                      <a:endParaRPr lang="en-IN" dirty="0">
                        <a:effectLst/>
                      </a:endParaRPr>
                    </a:p>
                  </a:txBody>
                  <a:tcPr marL="76200" marR="76200" marT="76200" marB="76200" anchor="ctr"/>
                </a:tc>
                <a:tc>
                  <a:txBody>
                    <a:bodyPr/>
                    <a:lstStyle/>
                    <a:p>
                      <a:pPr algn="l" fontAlgn="ctr"/>
                      <a:r>
                        <a:rPr lang="en-US">
                          <a:effectLst/>
                        </a:rPr>
                        <a:t>Perform ASCII-only matching instead of full Unicode matching</a:t>
                      </a:r>
                    </a:p>
                  </a:txBody>
                  <a:tcPr marL="76200" marR="76200" marT="76200" marB="76200" anchor="ctr"/>
                </a:tc>
                <a:extLst>
                  <a:ext uri="{0D108BD9-81ED-4DB2-BD59-A6C34878D82A}">
                    <a16:rowId xmlns:a16="http://schemas.microsoft.com/office/drawing/2014/main" val="960320836"/>
                  </a:ext>
                </a:extLst>
              </a:tr>
              <a:tr h="370840">
                <a:tc>
                  <a:txBody>
                    <a:bodyPr/>
                    <a:lstStyle/>
                    <a:p>
                      <a:pPr algn="l" fontAlgn="ctr"/>
                      <a:r>
                        <a:rPr lang="en-IN">
                          <a:effectLst/>
                        </a:rPr>
                        <a:t>re.I</a:t>
                      </a:r>
                    </a:p>
                  </a:txBody>
                  <a:tcPr marL="76200" marR="76200" marT="76200" marB="76200" anchor="ctr"/>
                </a:tc>
                <a:tc>
                  <a:txBody>
                    <a:bodyPr/>
                    <a:lstStyle/>
                    <a:p>
                      <a:pPr algn="l" fontAlgn="ctr"/>
                      <a:r>
                        <a:rPr lang="en-IN" dirty="0" err="1">
                          <a:effectLst/>
                        </a:rPr>
                        <a:t>re.IGNORECASE</a:t>
                      </a:r>
                      <a:endParaRPr lang="en-IN" dirty="0">
                        <a:effectLst/>
                      </a:endParaRPr>
                    </a:p>
                  </a:txBody>
                  <a:tcPr marL="76200" marR="76200" marT="76200" marB="76200" anchor="ctr"/>
                </a:tc>
                <a:tc>
                  <a:txBody>
                    <a:bodyPr/>
                    <a:lstStyle/>
                    <a:p>
                      <a:pPr algn="l" fontAlgn="ctr"/>
                      <a:r>
                        <a:rPr lang="en-IN">
                          <a:effectLst/>
                        </a:rPr>
                        <a:t>Perform case-insensitive matching</a:t>
                      </a:r>
                    </a:p>
                  </a:txBody>
                  <a:tcPr marL="76200" marR="76200" marT="76200" marB="76200" anchor="ctr"/>
                </a:tc>
                <a:extLst>
                  <a:ext uri="{0D108BD9-81ED-4DB2-BD59-A6C34878D82A}">
                    <a16:rowId xmlns:a16="http://schemas.microsoft.com/office/drawing/2014/main" val="3021533214"/>
                  </a:ext>
                </a:extLst>
              </a:tr>
              <a:tr h="370840">
                <a:tc>
                  <a:txBody>
                    <a:bodyPr/>
                    <a:lstStyle/>
                    <a:p>
                      <a:pPr algn="l" fontAlgn="ctr"/>
                      <a:r>
                        <a:rPr lang="en-IN" dirty="0" err="1">
                          <a:effectLst/>
                        </a:rPr>
                        <a:t>re.M</a:t>
                      </a:r>
                      <a:endParaRPr lang="en-IN" dirty="0">
                        <a:effectLst/>
                      </a:endParaRPr>
                    </a:p>
                  </a:txBody>
                  <a:tcPr marL="76200" marR="76200" marT="76200" marB="76200" anchor="ctr"/>
                </a:tc>
                <a:tc>
                  <a:txBody>
                    <a:bodyPr/>
                    <a:lstStyle/>
                    <a:p>
                      <a:pPr algn="l" fontAlgn="ctr"/>
                      <a:r>
                        <a:rPr lang="en-IN" dirty="0" err="1">
                          <a:effectLst/>
                        </a:rPr>
                        <a:t>re.MULTILINE</a:t>
                      </a:r>
                      <a:endParaRPr lang="en-IN" dirty="0">
                        <a:effectLst/>
                      </a:endParaRPr>
                    </a:p>
                  </a:txBody>
                  <a:tcPr marL="76200" marR="76200" marT="76200" marB="76200" anchor="ctr"/>
                </a:tc>
                <a:tc>
                  <a:txBody>
                    <a:bodyPr/>
                    <a:lstStyle/>
                    <a:p>
                      <a:pPr algn="l" fontAlgn="ctr"/>
                      <a:r>
                        <a:rPr lang="en-US" dirty="0">
                          <a:effectLst/>
                        </a:rPr>
                        <a:t>This flag is used with metacharacter ^ (caret) and $ (dollar).</a:t>
                      </a:r>
                      <a:br>
                        <a:rPr lang="en-US" dirty="0">
                          <a:effectLst/>
                        </a:rPr>
                      </a:br>
                      <a:r>
                        <a:rPr lang="en-US" dirty="0">
                          <a:effectLst/>
                        </a:rPr>
                        <a:t>When this flag is specified, the metacharacter ^ matches the pattern at beginning of the string and each newline’s beginning (\n).</a:t>
                      </a:r>
                      <a:br>
                        <a:rPr lang="en-US" dirty="0">
                          <a:effectLst/>
                        </a:rPr>
                      </a:br>
                      <a:r>
                        <a:rPr lang="en-US" dirty="0">
                          <a:effectLst/>
                        </a:rPr>
                        <a:t>And the metacharacter $ matches pattern at the end of the string and the end of each new line (\n)</a:t>
                      </a:r>
                    </a:p>
                  </a:txBody>
                  <a:tcPr marL="76200" marR="76200" marT="76200" marB="76200" anchor="ctr"/>
                </a:tc>
                <a:extLst>
                  <a:ext uri="{0D108BD9-81ED-4DB2-BD59-A6C34878D82A}">
                    <a16:rowId xmlns:a16="http://schemas.microsoft.com/office/drawing/2014/main" val="1729288397"/>
                  </a:ext>
                </a:extLst>
              </a:tr>
              <a:tr h="370840">
                <a:tc>
                  <a:txBody>
                    <a:bodyPr/>
                    <a:lstStyle/>
                    <a:p>
                      <a:pPr algn="l" fontAlgn="ctr"/>
                      <a:r>
                        <a:rPr lang="en-IN" dirty="0" err="1">
                          <a:effectLst/>
                        </a:rPr>
                        <a:t>re.S</a:t>
                      </a:r>
                      <a:endParaRPr lang="en-IN" dirty="0">
                        <a:effectLst/>
                      </a:endParaRPr>
                    </a:p>
                  </a:txBody>
                  <a:tcPr marL="76200" marR="76200" marT="76200" marB="76200" anchor="ctr"/>
                </a:tc>
                <a:tc>
                  <a:txBody>
                    <a:bodyPr/>
                    <a:lstStyle/>
                    <a:p>
                      <a:pPr algn="l" fontAlgn="ctr"/>
                      <a:r>
                        <a:rPr lang="en-IN" dirty="0" err="1">
                          <a:effectLst/>
                        </a:rPr>
                        <a:t>re.DOTALL</a:t>
                      </a:r>
                      <a:endParaRPr lang="en-IN" dirty="0">
                        <a:effectLst/>
                      </a:endParaRPr>
                    </a:p>
                  </a:txBody>
                  <a:tcPr marL="76200" marR="76200" marT="76200" marB="76200" anchor="ctr"/>
                </a:tc>
                <a:tc>
                  <a:txBody>
                    <a:bodyPr/>
                    <a:lstStyle/>
                    <a:p>
                      <a:pPr algn="l" fontAlgn="ctr"/>
                      <a:r>
                        <a:rPr lang="en-US">
                          <a:effectLst/>
                        </a:rPr>
                        <a:t>Make the DOT (.) special character match any character at all, including a newline. Without this flag, DOT(.) will match anything except a newline</a:t>
                      </a:r>
                    </a:p>
                  </a:txBody>
                  <a:tcPr marL="76200" marR="76200" marT="76200" marB="76200" anchor="ctr"/>
                </a:tc>
                <a:extLst>
                  <a:ext uri="{0D108BD9-81ED-4DB2-BD59-A6C34878D82A}">
                    <a16:rowId xmlns:a16="http://schemas.microsoft.com/office/drawing/2014/main" val="1465796575"/>
                  </a:ext>
                </a:extLst>
              </a:tr>
              <a:tr h="370840">
                <a:tc>
                  <a:txBody>
                    <a:bodyPr/>
                    <a:lstStyle/>
                    <a:p>
                      <a:pPr algn="l" fontAlgn="ctr"/>
                      <a:r>
                        <a:rPr lang="en-IN" dirty="0" err="1">
                          <a:effectLst/>
                        </a:rPr>
                        <a:t>re.X</a:t>
                      </a:r>
                      <a:endParaRPr lang="en-IN" dirty="0">
                        <a:effectLst/>
                      </a:endParaRPr>
                    </a:p>
                  </a:txBody>
                  <a:tcPr marL="76200" marR="76200" marT="76200" marB="76200" anchor="ctr"/>
                </a:tc>
                <a:tc>
                  <a:txBody>
                    <a:bodyPr/>
                    <a:lstStyle/>
                    <a:p>
                      <a:pPr algn="l" fontAlgn="ctr"/>
                      <a:r>
                        <a:rPr lang="en-IN" dirty="0" err="1">
                          <a:effectLst/>
                        </a:rPr>
                        <a:t>re.VERBOSE</a:t>
                      </a:r>
                      <a:endParaRPr lang="en-IN" dirty="0">
                        <a:effectLst/>
                      </a:endParaRPr>
                    </a:p>
                  </a:txBody>
                  <a:tcPr marL="76200" marR="76200" marT="76200" marB="76200" anchor="ctr"/>
                </a:tc>
                <a:tc>
                  <a:txBody>
                    <a:bodyPr/>
                    <a:lstStyle/>
                    <a:p>
                      <a:pPr algn="l" fontAlgn="ctr"/>
                      <a:r>
                        <a:rPr lang="en-US" dirty="0">
                          <a:effectLst/>
                        </a:rPr>
                        <a:t>Allow comment in the regex. This flag is useful to make regex more readable by allowing comments in the regex.</a:t>
                      </a:r>
                    </a:p>
                  </a:txBody>
                  <a:tcPr marL="76200" marR="76200" marT="76200" marB="76200" anchor="ctr"/>
                </a:tc>
                <a:extLst>
                  <a:ext uri="{0D108BD9-81ED-4DB2-BD59-A6C34878D82A}">
                    <a16:rowId xmlns:a16="http://schemas.microsoft.com/office/drawing/2014/main" val="922704292"/>
                  </a:ext>
                </a:extLst>
              </a:tr>
              <a:tr h="370840">
                <a:tc>
                  <a:txBody>
                    <a:bodyPr/>
                    <a:lstStyle/>
                    <a:p>
                      <a:pPr algn="l" fontAlgn="ctr"/>
                      <a:r>
                        <a:rPr lang="en-IN">
                          <a:effectLst/>
                        </a:rPr>
                        <a:t>re.L</a:t>
                      </a:r>
                    </a:p>
                  </a:txBody>
                  <a:tcPr marL="76200" marR="76200" marT="76200" marB="76200" anchor="ctr"/>
                </a:tc>
                <a:tc>
                  <a:txBody>
                    <a:bodyPr/>
                    <a:lstStyle/>
                    <a:p>
                      <a:pPr algn="l" fontAlgn="ctr"/>
                      <a:r>
                        <a:rPr lang="en-IN" dirty="0" err="1">
                          <a:effectLst/>
                        </a:rPr>
                        <a:t>re.LOCALE</a:t>
                      </a:r>
                      <a:endParaRPr lang="en-IN" dirty="0">
                        <a:effectLst/>
                      </a:endParaRPr>
                    </a:p>
                  </a:txBody>
                  <a:tcPr marL="76200" marR="76200" marT="76200" marB="76200" anchor="ctr"/>
                </a:tc>
                <a:tc>
                  <a:txBody>
                    <a:bodyPr/>
                    <a:lstStyle/>
                    <a:p>
                      <a:pPr algn="l" fontAlgn="ctr"/>
                      <a:r>
                        <a:rPr lang="en-US" dirty="0">
                          <a:effectLst/>
                        </a:rPr>
                        <a:t>Perform case-insensitive matching dependent on the current locale. Use only with bytes patterns</a:t>
                      </a:r>
                    </a:p>
                  </a:txBody>
                  <a:tcPr marL="76200" marR="76200" marT="76200" marB="76200" anchor="ctr"/>
                </a:tc>
                <a:extLst>
                  <a:ext uri="{0D108BD9-81ED-4DB2-BD59-A6C34878D82A}">
                    <a16:rowId xmlns:a16="http://schemas.microsoft.com/office/drawing/2014/main" val="1819566005"/>
                  </a:ext>
                </a:extLst>
              </a:tr>
            </a:tbl>
          </a:graphicData>
        </a:graphic>
      </p:graphicFrame>
    </p:spTree>
    <p:extLst>
      <p:ext uri="{BB962C8B-B14F-4D97-AF65-F5344CB8AC3E}">
        <p14:creationId xmlns:p14="http://schemas.microsoft.com/office/powerpoint/2010/main" val="18048863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1D53E-520F-97E0-E44C-C7FBB5827DED}"/>
              </a:ext>
            </a:extLst>
          </p:cNvPr>
          <p:cNvSpPr>
            <a:spLocks noGrp="1"/>
          </p:cNvSpPr>
          <p:nvPr>
            <p:ph type="title"/>
          </p:nvPr>
        </p:nvSpPr>
        <p:spPr>
          <a:xfrm>
            <a:off x="995498" y="100556"/>
            <a:ext cx="9888812" cy="367087"/>
          </a:xfrm>
        </p:spPr>
        <p:txBody>
          <a:bodyPr>
            <a:noAutofit/>
          </a:bodyPr>
          <a:lstStyle/>
          <a:p>
            <a:pPr algn="ctr"/>
            <a:r>
              <a:rPr lang="en-IN" sz="4000" dirty="0"/>
              <a:t>Regex Methods</a:t>
            </a:r>
          </a:p>
        </p:txBody>
      </p:sp>
      <p:graphicFrame>
        <p:nvGraphicFramePr>
          <p:cNvPr id="4" name="Table 4">
            <a:extLst>
              <a:ext uri="{FF2B5EF4-FFF2-40B4-BE49-F238E27FC236}">
                <a16:creationId xmlns:a16="http://schemas.microsoft.com/office/drawing/2014/main" id="{11CDB35C-F3B8-01D3-84D8-E69D519DEE96}"/>
              </a:ext>
            </a:extLst>
          </p:cNvPr>
          <p:cNvGraphicFramePr>
            <a:graphicFrameLocks noGrp="1"/>
          </p:cNvGraphicFramePr>
          <p:nvPr>
            <p:ph idx="1"/>
            <p:extLst>
              <p:ext uri="{D42A27DB-BD31-4B8C-83A1-F6EECF244321}">
                <p14:modId xmlns:p14="http://schemas.microsoft.com/office/powerpoint/2010/main" val="3729276458"/>
              </p:ext>
            </p:extLst>
          </p:nvPr>
        </p:nvGraphicFramePr>
        <p:xfrm>
          <a:off x="128081" y="318447"/>
          <a:ext cx="11935838" cy="6438997"/>
        </p:xfrm>
        <a:graphic>
          <a:graphicData uri="http://schemas.openxmlformats.org/drawingml/2006/table">
            <a:tbl>
              <a:tblPr firstRow="1" bandRow="1">
                <a:tableStyleId>{21E4AEA4-8DFA-4A89-87EB-49C32662AFE0}</a:tableStyleId>
              </a:tblPr>
              <a:tblGrid>
                <a:gridCol w="992222">
                  <a:extLst>
                    <a:ext uri="{9D8B030D-6E8A-4147-A177-3AD203B41FA5}">
                      <a16:colId xmlns:a16="http://schemas.microsoft.com/office/drawing/2014/main" val="612325171"/>
                    </a:ext>
                  </a:extLst>
                </a:gridCol>
                <a:gridCol w="7585895">
                  <a:extLst>
                    <a:ext uri="{9D8B030D-6E8A-4147-A177-3AD203B41FA5}">
                      <a16:colId xmlns:a16="http://schemas.microsoft.com/office/drawing/2014/main" val="3592848336"/>
                    </a:ext>
                  </a:extLst>
                </a:gridCol>
                <a:gridCol w="3357721">
                  <a:extLst>
                    <a:ext uri="{9D8B030D-6E8A-4147-A177-3AD203B41FA5}">
                      <a16:colId xmlns:a16="http://schemas.microsoft.com/office/drawing/2014/main" val="3827000300"/>
                    </a:ext>
                  </a:extLst>
                </a:gridCol>
              </a:tblGrid>
              <a:tr h="336886">
                <a:tc>
                  <a:txBody>
                    <a:bodyPr/>
                    <a:lstStyle/>
                    <a:p>
                      <a:r>
                        <a:rPr lang="en-IN" dirty="0"/>
                        <a:t> Method</a:t>
                      </a:r>
                    </a:p>
                  </a:txBody>
                  <a:tcPr/>
                </a:tc>
                <a:tc>
                  <a:txBody>
                    <a:bodyPr/>
                    <a:lstStyle/>
                    <a:p>
                      <a:r>
                        <a:rPr lang="en-IN" dirty="0"/>
                        <a:t> Usage</a:t>
                      </a:r>
                    </a:p>
                  </a:txBody>
                  <a:tcPr/>
                </a:tc>
                <a:tc>
                  <a:txBody>
                    <a:bodyPr/>
                    <a:lstStyle/>
                    <a:p>
                      <a:r>
                        <a:rPr lang="en-IN" dirty="0"/>
                        <a:t>syntax</a:t>
                      </a:r>
                    </a:p>
                  </a:txBody>
                  <a:tcPr/>
                </a:tc>
                <a:extLst>
                  <a:ext uri="{0D108BD9-81ED-4DB2-BD59-A6C34878D82A}">
                    <a16:rowId xmlns:a16="http://schemas.microsoft.com/office/drawing/2014/main" val="3287979006"/>
                  </a:ext>
                </a:extLst>
              </a:tr>
              <a:tr h="589551">
                <a:tc>
                  <a:txBody>
                    <a:bodyPr/>
                    <a:lstStyle/>
                    <a:p>
                      <a:r>
                        <a:rPr lang="en-IN" dirty="0"/>
                        <a:t>match</a:t>
                      </a:r>
                    </a:p>
                  </a:txBody>
                  <a:tcPr/>
                </a:tc>
                <a:tc>
                  <a:txBody>
                    <a:bodyPr/>
                    <a:lstStyle/>
                    <a:p>
                      <a:r>
                        <a:rPr lang="en-US" sz="1800" b="0" kern="1200" dirty="0">
                          <a:solidFill>
                            <a:schemeClr val="dk1"/>
                          </a:solidFill>
                          <a:effectLst/>
                        </a:rPr>
                        <a:t>looks for the regex pattern only at the beginning of the target string and returns match object if match found; otherwise, it will return None.</a:t>
                      </a:r>
                      <a:endParaRPr lang="en-IN" dirty="0"/>
                    </a:p>
                  </a:txBody>
                  <a:tcPr/>
                </a:tc>
                <a:tc>
                  <a:txBody>
                    <a:bodyPr/>
                    <a:lstStyle/>
                    <a:p>
                      <a:pPr algn="l" fontAlgn="ctr"/>
                      <a:r>
                        <a:rPr lang="en-IN" dirty="0" err="1">
                          <a:effectLst/>
                        </a:rPr>
                        <a:t>re.match</a:t>
                      </a:r>
                      <a:r>
                        <a:rPr lang="en-IN" dirty="0">
                          <a:effectLst/>
                        </a:rPr>
                        <a:t>(pattern, str,</a:t>
                      </a:r>
                      <a:r>
                        <a:rPr lang="en-IN" sz="1800" b="0" kern="1200" dirty="0">
                          <a:solidFill>
                            <a:schemeClr val="dk1"/>
                          </a:solidFill>
                          <a:effectLst/>
                        </a:rPr>
                        <a:t> flags=0</a:t>
                      </a:r>
                      <a:r>
                        <a:rPr lang="en-IN" dirty="0">
                          <a:effectLst/>
                        </a:rPr>
                        <a:t>)</a:t>
                      </a:r>
                    </a:p>
                  </a:txBody>
                  <a:tcPr marL="76200" marR="76200" marT="76200" marB="76200" anchor="ctr"/>
                </a:tc>
                <a:extLst>
                  <a:ext uri="{0D108BD9-81ED-4DB2-BD59-A6C34878D82A}">
                    <a16:rowId xmlns:a16="http://schemas.microsoft.com/office/drawing/2014/main" val="68180087"/>
                  </a:ext>
                </a:extLst>
              </a:tr>
              <a:tr h="393034">
                <a:tc>
                  <a:txBody>
                    <a:bodyPr/>
                    <a:lstStyle/>
                    <a:p>
                      <a:r>
                        <a:rPr lang="en-IN" dirty="0"/>
                        <a:t>search</a:t>
                      </a:r>
                    </a:p>
                  </a:txBody>
                  <a:tcPr/>
                </a:tc>
                <a:tc>
                  <a:txBody>
                    <a:bodyPr/>
                    <a:lstStyle/>
                    <a:p>
                      <a:r>
                        <a:rPr lang="en-US" sz="1800" b="0" kern="1200" dirty="0">
                          <a:solidFill>
                            <a:schemeClr val="dk1"/>
                          </a:solidFill>
                          <a:effectLst/>
                        </a:rPr>
                        <a:t>Matches </a:t>
                      </a:r>
                      <a:r>
                        <a:rPr lang="en-US" dirty="0"/>
                        <a:t>pattern</a:t>
                      </a:r>
                      <a:r>
                        <a:rPr lang="en-US" sz="1800" b="0" kern="1200" dirty="0">
                          <a:solidFill>
                            <a:schemeClr val="dk1"/>
                          </a:solidFill>
                          <a:effectLst/>
                        </a:rPr>
                        <a:t> anywhere in the string. Return only first match</a:t>
                      </a:r>
                      <a:endParaRPr lang="en-IN" dirty="0"/>
                    </a:p>
                  </a:txBody>
                  <a:tcPr/>
                </a:tc>
                <a:tc>
                  <a:txBody>
                    <a:bodyPr/>
                    <a:lstStyle/>
                    <a:p>
                      <a:pPr algn="l" fontAlgn="ctr"/>
                      <a:r>
                        <a:rPr lang="en-IN" dirty="0" err="1">
                          <a:effectLst/>
                        </a:rPr>
                        <a:t>re.search</a:t>
                      </a:r>
                      <a:r>
                        <a:rPr lang="en-IN" dirty="0">
                          <a:effectLst/>
                        </a:rPr>
                        <a:t>(pattern, str,</a:t>
                      </a:r>
                      <a:r>
                        <a:rPr lang="en-IN" sz="1800" b="0" kern="1200" dirty="0">
                          <a:solidFill>
                            <a:schemeClr val="dk1"/>
                          </a:solidFill>
                          <a:effectLst/>
                        </a:rPr>
                        <a:t> flags=0</a:t>
                      </a:r>
                      <a:r>
                        <a:rPr lang="en-IN" dirty="0">
                          <a:effectLst/>
                        </a:rPr>
                        <a:t>)</a:t>
                      </a:r>
                    </a:p>
                  </a:txBody>
                  <a:tcPr marL="76200" marR="76200" marT="76200" marB="76200" anchor="ctr"/>
                </a:tc>
                <a:extLst>
                  <a:ext uri="{0D108BD9-81ED-4DB2-BD59-A6C34878D82A}">
                    <a16:rowId xmlns:a16="http://schemas.microsoft.com/office/drawing/2014/main" val="4191434952"/>
                  </a:ext>
                </a:extLst>
              </a:tr>
              <a:tr h="589551">
                <a:tc>
                  <a:txBody>
                    <a:bodyPr/>
                    <a:lstStyle/>
                    <a:p>
                      <a:r>
                        <a:rPr lang="en-IN" dirty="0" err="1"/>
                        <a:t>findall</a:t>
                      </a:r>
                      <a:endParaRPr lang="en-IN" dirty="0"/>
                    </a:p>
                  </a:txBody>
                  <a:tcPr/>
                </a:tc>
                <a:tc>
                  <a:txBody>
                    <a:bodyPr/>
                    <a:lstStyle/>
                    <a:p>
                      <a:r>
                        <a:rPr lang="en-US" sz="1800" b="0" kern="1200" dirty="0">
                          <a:solidFill>
                            <a:schemeClr val="dk1"/>
                          </a:solidFill>
                          <a:effectLst/>
                        </a:rPr>
                        <a:t>scans the target string from left to right as per the regular expression pattern and returns all matches in the order they were found.</a:t>
                      </a:r>
                      <a:endParaRPr lang="en-IN" dirty="0"/>
                    </a:p>
                  </a:txBody>
                  <a:tcPr/>
                </a:tc>
                <a:tc>
                  <a:txBody>
                    <a:bodyPr/>
                    <a:lstStyle/>
                    <a:p>
                      <a:r>
                        <a:rPr lang="en-IN" sz="1800" b="0" kern="1200" dirty="0" err="1">
                          <a:solidFill>
                            <a:schemeClr val="dk1"/>
                          </a:solidFill>
                          <a:effectLst/>
                        </a:rPr>
                        <a:t>re.findall</a:t>
                      </a:r>
                      <a:r>
                        <a:rPr lang="en-IN" sz="1800" b="0" kern="1200" dirty="0">
                          <a:solidFill>
                            <a:schemeClr val="dk1"/>
                          </a:solidFill>
                          <a:effectLst/>
                        </a:rPr>
                        <a:t>(pattern, string, flags=0)</a:t>
                      </a:r>
                      <a:endParaRPr lang="en-IN"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566861932"/>
                  </a:ext>
                </a:extLst>
              </a:tr>
              <a:tr h="1094881">
                <a:tc>
                  <a:txBody>
                    <a:bodyPr/>
                    <a:lstStyle/>
                    <a:p>
                      <a:r>
                        <a:rPr lang="en-IN" dirty="0" err="1"/>
                        <a:t>finditer</a:t>
                      </a:r>
                      <a:endParaRPr lang="en-IN" dirty="0"/>
                    </a:p>
                  </a:txBody>
                  <a:tcPr/>
                </a:tc>
                <a:tc>
                  <a:txBody>
                    <a:bodyPr/>
                    <a:lstStyle/>
                    <a:p>
                      <a:r>
                        <a:rPr lang="en-US" sz="1800" b="0" kern="1200" dirty="0">
                          <a:solidFill>
                            <a:schemeClr val="dk1"/>
                          </a:solidFill>
                          <a:effectLst/>
                        </a:rPr>
                        <a:t>works exactly the same as the </a:t>
                      </a:r>
                      <a:r>
                        <a:rPr lang="en-US" dirty="0" err="1"/>
                        <a:t>re.findall</a:t>
                      </a:r>
                      <a:r>
                        <a:rPr lang="en-US" dirty="0"/>
                        <a:t>()</a:t>
                      </a:r>
                      <a:r>
                        <a:rPr lang="en-US" sz="1800" b="0" kern="1200" dirty="0">
                          <a:solidFill>
                            <a:schemeClr val="dk1"/>
                          </a:solidFill>
                          <a:effectLst/>
                        </a:rPr>
                        <a:t> method except it </a:t>
                      </a:r>
                      <a:r>
                        <a:rPr lang="en-US" sz="1800" b="1" kern="1200" dirty="0">
                          <a:solidFill>
                            <a:schemeClr val="dk1"/>
                          </a:solidFill>
                          <a:effectLst/>
                        </a:rPr>
                        <a:t>returns an iterator yielding match objects matching the regex pattern</a:t>
                      </a:r>
                      <a:r>
                        <a:rPr lang="en-US" sz="1800" b="0" kern="1200" dirty="0">
                          <a:solidFill>
                            <a:schemeClr val="dk1"/>
                          </a:solidFill>
                          <a:effectLst/>
                        </a:rPr>
                        <a:t> in a string instead of a list, It scans the string from left to right, and matches are returned in the iterator form</a:t>
                      </a:r>
                      <a:endParaRPr lang="en-IN"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kern="1200" dirty="0" err="1">
                          <a:solidFill>
                            <a:schemeClr val="dk1"/>
                          </a:solidFill>
                          <a:effectLst/>
                        </a:rPr>
                        <a:t>re.finditer</a:t>
                      </a:r>
                      <a:r>
                        <a:rPr lang="en-IN" sz="1800" b="0" kern="1200" dirty="0">
                          <a:solidFill>
                            <a:schemeClr val="dk1"/>
                          </a:solidFill>
                          <a:effectLst/>
                        </a:rPr>
                        <a:t>(pattern, string, flags=0)</a:t>
                      </a:r>
                    </a:p>
                    <a:p>
                      <a:endParaRPr lang="en-IN" dirty="0"/>
                    </a:p>
                  </a:txBody>
                  <a:tcPr/>
                </a:tc>
                <a:extLst>
                  <a:ext uri="{0D108BD9-81ED-4DB2-BD59-A6C34878D82A}">
                    <a16:rowId xmlns:a16="http://schemas.microsoft.com/office/drawing/2014/main" val="1739767696"/>
                  </a:ext>
                </a:extLst>
              </a:tr>
              <a:tr h="842216">
                <a:tc>
                  <a:txBody>
                    <a:bodyPr/>
                    <a:lstStyle/>
                    <a:p>
                      <a:r>
                        <a:rPr lang="en-IN" dirty="0"/>
                        <a:t>split</a:t>
                      </a:r>
                    </a:p>
                  </a:txBody>
                  <a:tcPr/>
                </a:tc>
                <a:tc>
                  <a:txBody>
                    <a:bodyPr/>
                    <a:lstStyle/>
                    <a:p>
                      <a:r>
                        <a:rPr lang="en-US" sz="1800" b="1" kern="1200" dirty="0">
                          <a:solidFill>
                            <a:schemeClr val="dk1"/>
                          </a:solidFill>
                          <a:effectLst/>
                        </a:rPr>
                        <a:t>split the string by the occurrences of the regex pattern</a:t>
                      </a:r>
                      <a:r>
                        <a:rPr lang="en-US" sz="1800" b="0" kern="1200" dirty="0">
                          <a:solidFill>
                            <a:schemeClr val="dk1"/>
                          </a:solidFill>
                          <a:effectLst/>
                        </a:rPr>
                        <a:t>, returning a list containing the resulting substrings</a:t>
                      </a:r>
                      <a:endParaRPr lang="en-IN" dirty="0"/>
                    </a:p>
                  </a:txBody>
                  <a:tcPr/>
                </a:tc>
                <a:tc>
                  <a:txBody>
                    <a:bodyPr/>
                    <a:lstStyle/>
                    <a:p>
                      <a:r>
                        <a:rPr lang="sv-SE" dirty="0"/>
                        <a:t>re.split(pattern, string, maxsplit=0, flags=0)</a:t>
                      </a:r>
                      <a:br>
                        <a:rPr lang="sv-SE" sz="1800" b="0" kern="1200" dirty="0">
                          <a:solidFill>
                            <a:schemeClr val="dk1"/>
                          </a:solidFill>
                          <a:effectLst/>
                        </a:rPr>
                      </a:br>
                      <a:endParaRPr lang="en-IN" dirty="0"/>
                    </a:p>
                  </a:txBody>
                  <a:tcPr/>
                </a:tc>
                <a:extLst>
                  <a:ext uri="{0D108BD9-81ED-4DB2-BD59-A6C34878D82A}">
                    <a16:rowId xmlns:a16="http://schemas.microsoft.com/office/drawing/2014/main" val="1957982995"/>
                  </a:ext>
                </a:extLst>
              </a:tr>
              <a:tr h="800197">
                <a:tc>
                  <a:txBody>
                    <a:bodyPr/>
                    <a:lstStyle/>
                    <a:p>
                      <a:r>
                        <a:rPr lang="en-IN" dirty="0"/>
                        <a:t>Replace(sub)</a:t>
                      </a:r>
                    </a:p>
                  </a:txBody>
                  <a:tcPr/>
                </a:tc>
                <a:tc>
                  <a:txBody>
                    <a:bodyPr/>
                    <a:lstStyle/>
                    <a:p>
                      <a:r>
                        <a:rPr lang="en-US" sz="1800" b="1" kern="1200" dirty="0">
                          <a:solidFill>
                            <a:schemeClr val="dk1"/>
                          </a:solidFill>
                          <a:effectLst/>
                        </a:rPr>
                        <a:t>replace one or more occurrences of a regex pattern</a:t>
                      </a:r>
                      <a:r>
                        <a:rPr lang="en-US" sz="1800" b="0" kern="1200" dirty="0">
                          <a:solidFill>
                            <a:schemeClr val="dk1"/>
                          </a:solidFill>
                          <a:effectLst/>
                        </a:rPr>
                        <a:t> in the target string with a substitute string.</a:t>
                      </a:r>
                      <a:endParaRPr lang="en-IN" dirty="0"/>
                    </a:p>
                  </a:txBody>
                  <a:tcPr/>
                </a:tc>
                <a:tc>
                  <a:txBody>
                    <a:bodyPr/>
                    <a:lstStyle/>
                    <a:p>
                      <a:r>
                        <a:rPr lang="en-US" sz="1800" b="0" kern="1200" dirty="0" err="1">
                          <a:solidFill>
                            <a:schemeClr val="dk1"/>
                          </a:solidFill>
                          <a:effectLst/>
                        </a:rPr>
                        <a:t>re.sub</a:t>
                      </a:r>
                      <a:r>
                        <a:rPr lang="en-US" sz="1800" b="0" kern="1200" dirty="0">
                          <a:solidFill>
                            <a:schemeClr val="dk1"/>
                          </a:solidFill>
                          <a:effectLst/>
                        </a:rPr>
                        <a:t>(pattern, replacement, string, [count, flags])</a:t>
                      </a:r>
                      <a:endParaRPr lang="en-US"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573198322"/>
                  </a:ext>
                </a:extLst>
              </a:tr>
              <a:tr h="1347546">
                <a:tc>
                  <a:txBody>
                    <a:bodyPr/>
                    <a:lstStyle/>
                    <a:p>
                      <a:r>
                        <a:rPr lang="en-IN" dirty="0" err="1"/>
                        <a:t>subn</a:t>
                      </a:r>
                      <a:endParaRPr lang="en-IN" dirty="0"/>
                    </a:p>
                  </a:txBody>
                  <a:tcPr/>
                </a:tc>
                <a:tc>
                  <a:txBody>
                    <a:bodyPr/>
                    <a:lstStyle/>
                    <a:p>
                      <a:r>
                        <a:rPr lang="en-IN" dirty="0"/>
                        <a:t>Same as </a:t>
                      </a:r>
                      <a:r>
                        <a:rPr lang="en-IN" dirty="0" err="1"/>
                        <a:t>re.sub</a:t>
                      </a:r>
                      <a:r>
                        <a:rPr lang="en-IN" dirty="0"/>
                        <a:t> but returns a tuple of two elements</a:t>
                      </a:r>
                    </a:p>
                    <a:p>
                      <a:r>
                        <a:rPr lang="en-US" sz="1800" b="0" kern="1200" dirty="0">
                          <a:solidFill>
                            <a:schemeClr val="dk1"/>
                          </a:solidFill>
                          <a:effectLst/>
                        </a:rPr>
                        <a:t>The first element of the result is the new version of the target string after all the replacements have been made.</a:t>
                      </a:r>
                    </a:p>
                    <a:p>
                      <a:r>
                        <a:rPr lang="en-US" sz="1800" b="0" kern="1200" dirty="0">
                          <a:solidFill>
                            <a:schemeClr val="dk1"/>
                          </a:solidFill>
                          <a:effectLst/>
                        </a:rPr>
                        <a:t>The second element is the number of replacements it has made</a:t>
                      </a:r>
                    </a:p>
                    <a:p>
                      <a:endParaRPr lang="en-IN"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err="1">
                          <a:solidFill>
                            <a:schemeClr val="dk1"/>
                          </a:solidFill>
                          <a:effectLst/>
                        </a:rPr>
                        <a:t>re.subn</a:t>
                      </a:r>
                      <a:r>
                        <a:rPr lang="en-US" sz="1800" b="0" kern="1200" dirty="0">
                          <a:solidFill>
                            <a:schemeClr val="dk1"/>
                          </a:solidFill>
                          <a:effectLst/>
                        </a:rPr>
                        <a:t>(pattern, replacement, string, [count, flags])</a:t>
                      </a:r>
                    </a:p>
                    <a:p>
                      <a:endParaRPr lang="en-US" sz="1800" b="0" i="0" kern="1200" dirty="0">
                        <a:solidFill>
                          <a:schemeClr val="dk1"/>
                        </a:solidFill>
                        <a:effectLst/>
                        <a:latin typeface="+mn-lt"/>
                        <a:ea typeface="+mn-ea"/>
                        <a:cs typeface="+mn-cs"/>
                      </a:endParaRPr>
                    </a:p>
                  </a:txBody>
                  <a:tcPr/>
                </a:tc>
                <a:extLst>
                  <a:ext uri="{0D108BD9-81ED-4DB2-BD59-A6C34878D82A}">
                    <a16:rowId xmlns:a16="http://schemas.microsoft.com/office/drawing/2014/main" val="643199416"/>
                  </a:ext>
                </a:extLst>
              </a:tr>
            </a:tbl>
          </a:graphicData>
        </a:graphic>
      </p:graphicFrame>
    </p:spTree>
    <p:extLst>
      <p:ext uri="{BB962C8B-B14F-4D97-AF65-F5344CB8AC3E}">
        <p14:creationId xmlns:p14="http://schemas.microsoft.com/office/powerpoint/2010/main" val="19679589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D473-8B08-8A94-227B-D192212E9B53}"/>
              </a:ext>
            </a:extLst>
          </p:cNvPr>
          <p:cNvSpPr>
            <a:spLocks noGrp="1"/>
          </p:cNvSpPr>
          <p:nvPr>
            <p:ph type="title"/>
          </p:nvPr>
        </p:nvSpPr>
        <p:spPr>
          <a:xfrm>
            <a:off x="1141412" y="161318"/>
            <a:ext cx="9905998" cy="607167"/>
          </a:xfrm>
        </p:spPr>
        <p:txBody>
          <a:bodyPr>
            <a:normAutofit fontScale="90000"/>
          </a:bodyPr>
          <a:lstStyle/>
          <a:p>
            <a:pPr algn="ctr"/>
            <a:r>
              <a:rPr lang="en-US" dirty="0"/>
              <a:t>Named Entity Recognition</a:t>
            </a:r>
            <a:endParaRPr lang="en-IN" dirty="0"/>
          </a:p>
        </p:txBody>
      </p:sp>
      <p:sp>
        <p:nvSpPr>
          <p:cNvPr id="3" name="Content Placeholder 2">
            <a:extLst>
              <a:ext uri="{FF2B5EF4-FFF2-40B4-BE49-F238E27FC236}">
                <a16:creationId xmlns:a16="http://schemas.microsoft.com/office/drawing/2014/main" id="{DC7EC186-D36C-1E5F-30A8-450D371F08FF}"/>
              </a:ext>
            </a:extLst>
          </p:cNvPr>
          <p:cNvSpPr>
            <a:spLocks noGrp="1"/>
          </p:cNvSpPr>
          <p:nvPr>
            <p:ph idx="1"/>
          </p:nvPr>
        </p:nvSpPr>
        <p:spPr>
          <a:xfrm>
            <a:off x="690663" y="768485"/>
            <a:ext cx="11712102" cy="717450"/>
          </a:xfrm>
        </p:spPr>
        <p:txBody>
          <a:bodyPr>
            <a:normAutofit/>
          </a:bodyPr>
          <a:lstStyle/>
          <a:p>
            <a:r>
              <a:rPr lang="en-US" sz="2000" b="1" dirty="0"/>
              <a:t>Named entity recognition (NER) is the task of tagging entities in text with their corresponding type.</a:t>
            </a:r>
            <a:endParaRPr lang="en-IN" sz="2000" b="1" dirty="0"/>
          </a:p>
        </p:txBody>
      </p:sp>
      <p:graphicFrame>
        <p:nvGraphicFramePr>
          <p:cNvPr id="4" name="Diagram 3">
            <a:extLst>
              <a:ext uri="{FF2B5EF4-FFF2-40B4-BE49-F238E27FC236}">
                <a16:creationId xmlns:a16="http://schemas.microsoft.com/office/drawing/2014/main" id="{9AE88B12-F558-88D0-9C85-0EF859498C8B}"/>
              </a:ext>
            </a:extLst>
          </p:cNvPr>
          <p:cNvGraphicFramePr/>
          <p:nvPr>
            <p:extLst>
              <p:ext uri="{D42A27DB-BD31-4B8C-83A1-F6EECF244321}">
                <p14:modId xmlns:p14="http://schemas.microsoft.com/office/powerpoint/2010/main" val="1615979829"/>
              </p:ext>
            </p:extLst>
          </p:nvPr>
        </p:nvGraphicFramePr>
        <p:xfrm>
          <a:off x="972765" y="1127210"/>
          <a:ext cx="11430000" cy="18494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BE00BC75-436A-25AE-3754-5BC6CD535B16}"/>
              </a:ext>
            </a:extLst>
          </p:cNvPr>
          <p:cNvGraphicFramePr/>
          <p:nvPr>
            <p:extLst>
              <p:ext uri="{D42A27DB-BD31-4B8C-83A1-F6EECF244321}">
                <p14:modId xmlns:p14="http://schemas.microsoft.com/office/powerpoint/2010/main" val="762177794"/>
              </p:ext>
            </p:extLst>
          </p:nvPr>
        </p:nvGraphicFramePr>
        <p:xfrm>
          <a:off x="97277" y="3219856"/>
          <a:ext cx="12042842" cy="36381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77884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692D87-05A6-EB2E-BC7E-28D3F847008B}"/>
              </a:ext>
            </a:extLst>
          </p:cNvPr>
          <p:cNvSpPr>
            <a:spLocks noGrp="1"/>
          </p:cNvSpPr>
          <p:nvPr>
            <p:ph type="title"/>
          </p:nvPr>
        </p:nvSpPr>
        <p:spPr>
          <a:xfrm>
            <a:off x="1371599" y="294538"/>
            <a:ext cx="9895951" cy="1033669"/>
          </a:xfrm>
        </p:spPr>
        <p:txBody>
          <a:bodyPr>
            <a:normAutofit/>
          </a:bodyPr>
          <a:lstStyle/>
          <a:p>
            <a:r>
              <a:rPr lang="en-IN" sz="4000" dirty="0">
                <a:solidFill>
                  <a:srgbClr val="FFFFFF"/>
                </a:solidFill>
              </a:rPr>
              <a:t>NLP History Timeline</a:t>
            </a:r>
          </a:p>
        </p:txBody>
      </p:sp>
      <p:sp>
        <p:nvSpPr>
          <p:cNvPr id="4" name="Oval 3">
            <a:extLst>
              <a:ext uri="{FF2B5EF4-FFF2-40B4-BE49-F238E27FC236}">
                <a16:creationId xmlns:a16="http://schemas.microsoft.com/office/drawing/2014/main" id="{5668B45D-A417-F9C1-EAF0-5F6066CAF14A}"/>
              </a:ext>
            </a:extLst>
          </p:cNvPr>
          <p:cNvSpPr/>
          <p:nvPr/>
        </p:nvSpPr>
        <p:spPr>
          <a:xfrm>
            <a:off x="137115" y="2070155"/>
            <a:ext cx="238125" cy="24765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6" name="Straight Arrow Connector 5">
            <a:extLst>
              <a:ext uri="{FF2B5EF4-FFF2-40B4-BE49-F238E27FC236}">
                <a16:creationId xmlns:a16="http://schemas.microsoft.com/office/drawing/2014/main" id="{32ED4902-BFA8-1816-2547-A08C963FFDB0}"/>
              </a:ext>
            </a:extLst>
          </p:cNvPr>
          <p:cNvCxnSpPr>
            <a:cxnSpLocks/>
          </p:cNvCxnSpPr>
          <p:nvPr/>
        </p:nvCxnSpPr>
        <p:spPr>
          <a:xfrm>
            <a:off x="375240" y="2193980"/>
            <a:ext cx="895349"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9" name="Oval 8">
            <a:extLst>
              <a:ext uri="{FF2B5EF4-FFF2-40B4-BE49-F238E27FC236}">
                <a16:creationId xmlns:a16="http://schemas.microsoft.com/office/drawing/2014/main" id="{2AB2B060-BD5A-604D-D4F6-7B3D41B49AEF}"/>
              </a:ext>
            </a:extLst>
          </p:cNvPr>
          <p:cNvSpPr/>
          <p:nvPr/>
        </p:nvSpPr>
        <p:spPr>
          <a:xfrm>
            <a:off x="1258395" y="1598844"/>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950-1960</a:t>
            </a:r>
            <a:endParaRPr lang="en-IN" b="1" dirty="0"/>
          </a:p>
        </p:txBody>
      </p:sp>
      <p:sp>
        <p:nvSpPr>
          <p:cNvPr id="11" name="TextBox 10">
            <a:extLst>
              <a:ext uri="{FF2B5EF4-FFF2-40B4-BE49-F238E27FC236}">
                <a16:creationId xmlns:a16="http://schemas.microsoft.com/office/drawing/2014/main" id="{2C681462-525D-C0FB-66A1-21BF8880105E}"/>
              </a:ext>
            </a:extLst>
          </p:cNvPr>
          <p:cNvSpPr txBox="1"/>
          <p:nvPr/>
        </p:nvSpPr>
        <p:spPr>
          <a:xfrm>
            <a:off x="1478601" y="2562901"/>
            <a:ext cx="205359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Machine Translation</a:t>
            </a:r>
          </a:p>
          <a:p>
            <a:pPr marL="285750" indent="-285750">
              <a:buFont typeface="Arial" panose="020B0604020202020204" pitchFamily="34" charset="0"/>
              <a:buChar char="•"/>
            </a:pPr>
            <a:r>
              <a:rPr lang="en-US" sz="1400" dirty="0">
                <a:solidFill>
                  <a:srgbClr val="00B0F0"/>
                </a:solidFill>
              </a:rPr>
              <a:t>Syntactic Structures</a:t>
            </a:r>
          </a:p>
          <a:p>
            <a:pPr marL="285750" indent="-285750">
              <a:buFont typeface="Arial" panose="020B0604020202020204" pitchFamily="34" charset="0"/>
              <a:buChar char="•"/>
            </a:pPr>
            <a:r>
              <a:rPr lang="en-US" sz="1400" dirty="0">
                <a:solidFill>
                  <a:srgbClr val="00B0F0"/>
                </a:solidFill>
              </a:rPr>
              <a:t>Generative Grammer</a:t>
            </a:r>
            <a:endParaRPr lang="en-IN" sz="1400" dirty="0">
              <a:solidFill>
                <a:srgbClr val="00B0F0"/>
              </a:solidFill>
            </a:endParaRPr>
          </a:p>
        </p:txBody>
      </p:sp>
      <p:cxnSp>
        <p:nvCxnSpPr>
          <p:cNvPr id="13" name="Straight Arrow Connector 12">
            <a:extLst>
              <a:ext uri="{FF2B5EF4-FFF2-40B4-BE49-F238E27FC236}">
                <a16:creationId xmlns:a16="http://schemas.microsoft.com/office/drawing/2014/main" id="{7DF10755-4B67-98C9-6E2C-C25CADDD514B}"/>
              </a:ext>
            </a:extLst>
          </p:cNvPr>
          <p:cNvCxnSpPr>
            <a:cxnSpLocks/>
          </p:cNvCxnSpPr>
          <p:nvPr/>
        </p:nvCxnSpPr>
        <p:spPr>
          <a:xfrm>
            <a:off x="3140355" y="2105298"/>
            <a:ext cx="736592"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5" name="Oval 14">
            <a:extLst>
              <a:ext uri="{FF2B5EF4-FFF2-40B4-BE49-F238E27FC236}">
                <a16:creationId xmlns:a16="http://schemas.microsoft.com/office/drawing/2014/main" id="{2E70CF93-8412-BB02-213D-2F3A55F3CC9A}"/>
              </a:ext>
            </a:extLst>
          </p:cNvPr>
          <p:cNvSpPr/>
          <p:nvPr/>
        </p:nvSpPr>
        <p:spPr>
          <a:xfrm>
            <a:off x="3852551" y="1590741"/>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960-1970</a:t>
            </a:r>
            <a:endParaRPr lang="en-IN" b="1" dirty="0"/>
          </a:p>
        </p:txBody>
      </p:sp>
      <p:sp>
        <p:nvSpPr>
          <p:cNvPr id="17" name="TextBox 16">
            <a:extLst>
              <a:ext uri="{FF2B5EF4-FFF2-40B4-BE49-F238E27FC236}">
                <a16:creationId xmlns:a16="http://schemas.microsoft.com/office/drawing/2014/main" id="{B655E0A1-1894-FE0F-B0AE-18896517C62C}"/>
              </a:ext>
            </a:extLst>
          </p:cNvPr>
          <p:cNvSpPr txBox="1"/>
          <p:nvPr/>
        </p:nvSpPr>
        <p:spPr>
          <a:xfrm>
            <a:off x="3655898" y="2582008"/>
            <a:ext cx="2053590"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Eliza –I chatbot</a:t>
            </a:r>
          </a:p>
          <a:p>
            <a:pPr marL="285750" indent="-285750">
              <a:buFont typeface="Arial" panose="020B0604020202020204" pitchFamily="34" charset="0"/>
              <a:buChar char="•"/>
            </a:pPr>
            <a:r>
              <a:rPr lang="en-US" sz="1400" dirty="0">
                <a:solidFill>
                  <a:srgbClr val="00B0F0"/>
                </a:solidFill>
              </a:rPr>
              <a:t>ALPAC-Automatic Language Processing</a:t>
            </a:r>
          </a:p>
          <a:p>
            <a:pPr marL="285750" indent="-285750">
              <a:buFont typeface="Arial" panose="020B0604020202020204" pitchFamily="34" charset="0"/>
              <a:buChar char="•"/>
            </a:pPr>
            <a:r>
              <a:rPr lang="en-US" sz="1400" dirty="0">
                <a:solidFill>
                  <a:srgbClr val="00B0F0"/>
                </a:solidFill>
              </a:rPr>
              <a:t>Augmented Transition Network</a:t>
            </a:r>
            <a:endParaRPr lang="en-IN" sz="1400" dirty="0">
              <a:solidFill>
                <a:srgbClr val="00B0F0"/>
              </a:solidFill>
            </a:endParaRPr>
          </a:p>
        </p:txBody>
      </p:sp>
      <p:cxnSp>
        <p:nvCxnSpPr>
          <p:cNvPr id="19" name="Straight Arrow Connector 18">
            <a:extLst>
              <a:ext uri="{FF2B5EF4-FFF2-40B4-BE49-F238E27FC236}">
                <a16:creationId xmlns:a16="http://schemas.microsoft.com/office/drawing/2014/main" id="{20CBE97E-5596-6168-87A9-7D949C67CB14}"/>
              </a:ext>
            </a:extLst>
          </p:cNvPr>
          <p:cNvCxnSpPr>
            <a:cxnSpLocks/>
          </p:cNvCxnSpPr>
          <p:nvPr/>
        </p:nvCxnSpPr>
        <p:spPr>
          <a:xfrm>
            <a:off x="5734511" y="2070155"/>
            <a:ext cx="783001"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0" name="Oval 19">
            <a:extLst>
              <a:ext uri="{FF2B5EF4-FFF2-40B4-BE49-F238E27FC236}">
                <a16:creationId xmlns:a16="http://schemas.microsoft.com/office/drawing/2014/main" id="{1E37F89C-3E5F-82BF-1434-49875A4312BF}"/>
              </a:ext>
            </a:extLst>
          </p:cNvPr>
          <p:cNvSpPr/>
          <p:nvPr/>
        </p:nvSpPr>
        <p:spPr>
          <a:xfrm>
            <a:off x="6508263" y="1583312"/>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970-1980</a:t>
            </a:r>
            <a:endParaRPr lang="en-IN" b="1" dirty="0"/>
          </a:p>
        </p:txBody>
      </p:sp>
      <p:sp>
        <p:nvSpPr>
          <p:cNvPr id="21" name="TextBox 20">
            <a:extLst>
              <a:ext uri="{FF2B5EF4-FFF2-40B4-BE49-F238E27FC236}">
                <a16:creationId xmlns:a16="http://schemas.microsoft.com/office/drawing/2014/main" id="{F371564E-AF60-E717-0DA4-75432BE42A6D}"/>
              </a:ext>
            </a:extLst>
          </p:cNvPr>
          <p:cNvSpPr txBox="1"/>
          <p:nvPr/>
        </p:nvSpPr>
        <p:spPr>
          <a:xfrm>
            <a:off x="6319574" y="2504918"/>
            <a:ext cx="2496492"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ATR-Automatic Translation System</a:t>
            </a:r>
          </a:p>
          <a:p>
            <a:pPr marL="285750" indent="-285750">
              <a:buFont typeface="Arial" panose="020B0604020202020204" pitchFamily="34" charset="0"/>
              <a:buChar char="•"/>
            </a:pPr>
            <a:r>
              <a:rPr lang="en-US" sz="1400" dirty="0">
                <a:solidFill>
                  <a:srgbClr val="00B0F0"/>
                </a:solidFill>
              </a:rPr>
              <a:t>EARL Electronic Associate Representation Language</a:t>
            </a:r>
          </a:p>
          <a:p>
            <a:pPr marL="285750" indent="-285750">
              <a:buFont typeface="Arial" panose="020B0604020202020204" pitchFamily="34" charset="0"/>
              <a:buChar char="•"/>
            </a:pPr>
            <a:r>
              <a:rPr lang="en-IN" sz="1400" dirty="0">
                <a:solidFill>
                  <a:srgbClr val="00B0F0"/>
                </a:solidFill>
              </a:rPr>
              <a:t>Frame Semantics</a:t>
            </a:r>
          </a:p>
        </p:txBody>
      </p:sp>
      <p:sp>
        <p:nvSpPr>
          <p:cNvPr id="24" name="Oval 23">
            <a:extLst>
              <a:ext uri="{FF2B5EF4-FFF2-40B4-BE49-F238E27FC236}">
                <a16:creationId xmlns:a16="http://schemas.microsoft.com/office/drawing/2014/main" id="{5282D48B-2059-C8AB-1473-A16F310BDF1E}"/>
              </a:ext>
            </a:extLst>
          </p:cNvPr>
          <p:cNvSpPr/>
          <p:nvPr/>
        </p:nvSpPr>
        <p:spPr>
          <a:xfrm>
            <a:off x="324437" y="4308131"/>
            <a:ext cx="238125" cy="24765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5" name="Straight Arrow Connector 24">
            <a:extLst>
              <a:ext uri="{FF2B5EF4-FFF2-40B4-BE49-F238E27FC236}">
                <a16:creationId xmlns:a16="http://schemas.microsoft.com/office/drawing/2014/main" id="{6AC5496B-1704-198A-27C0-55D5EE58A50C}"/>
              </a:ext>
            </a:extLst>
          </p:cNvPr>
          <p:cNvCxnSpPr>
            <a:cxnSpLocks/>
          </p:cNvCxnSpPr>
          <p:nvPr/>
        </p:nvCxnSpPr>
        <p:spPr>
          <a:xfrm>
            <a:off x="562562" y="4431956"/>
            <a:ext cx="764093"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6" name="Oval 25">
            <a:extLst>
              <a:ext uri="{FF2B5EF4-FFF2-40B4-BE49-F238E27FC236}">
                <a16:creationId xmlns:a16="http://schemas.microsoft.com/office/drawing/2014/main" id="{9160F7BD-DFCD-9E89-A768-625BB01F1B06}"/>
              </a:ext>
            </a:extLst>
          </p:cNvPr>
          <p:cNvSpPr/>
          <p:nvPr/>
        </p:nvSpPr>
        <p:spPr>
          <a:xfrm>
            <a:off x="1336916" y="3937613"/>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990-2000</a:t>
            </a:r>
            <a:endParaRPr lang="en-IN" b="1" dirty="0"/>
          </a:p>
        </p:txBody>
      </p:sp>
      <p:sp>
        <p:nvSpPr>
          <p:cNvPr id="27" name="TextBox 26">
            <a:extLst>
              <a:ext uri="{FF2B5EF4-FFF2-40B4-BE49-F238E27FC236}">
                <a16:creationId xmlns:a16="http://schemas.microsoft.com/office/drawing/2014/main" id="{33051895-4A65-35CC-EB5B-DE44BC9F29FB}"/>
              </a:ext>
            </a:extLst>
          </p:cNvPr>
          <p:cNvSpPr txBox="1"/>
          <p:nvPr/>
        </p:nvSpPr>
        <p:spPr>
          <a:xfrm>
            <a:off x="812800" y="4897798"/>
            <a:ext cx="2554694"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Hidden Markov Models</a:t>
            </a:r>
          </a:p>
          <a:p>
            <a:pPr marL="285750" indent="-285750">
              <a:buFont typeface="Arial" panose="020B0604020202020204" pitchFamily="34" charset="0"/>
              <a:buChar char="•"/>
            </a:pPr>
            <a:r>
              <a:rPr lang="en-US" sz="1400" dirty="0">
                <a:solidFill>
                  <a:srgbClr val="00B0F0"/>
                </a:solidFill>
              </a:rPr>
              <a:t>Statistical Machine Translation</a:t>
            </a:r>
          </a:p>
          <a:p>
            <a:pPr marL="285750" indent="-285750">
              <a:buFont typeface="Arial" panose="020B0604020202020204" pitchFamily="34" charset="0"/>
              <a:buChar char="•"/>
            </a:pPr>
            <a:r>
              <a:rPr lang="en-US" sz="1400" dirty="0">
                <a:solidFill>
                  <a:srgbClr val="00B0F0"/>
                </a:solidFill>
              </a:rPr>
              <a:t>WordNet </a:t>
            </a:r>
          </a:p>
          <a:p>
            <a:pPr marL="285750" indent="-285750">
              <a:buFont typeface="Arial" panose="020B0604020202020204" pitchFamily="34" charset="0"/>
              <a:buChar char="•"/>
            </a:pPr>
            <a:r>
              <a:rPr lang="en-IN" sz="1400" dirty="0">
                <a:solidFill>
                  <a:srgbClr val="00B0F0"/>
                </a:solidFill>
              </a:rPr>
              <a:t>Ontologies and Semantic Web</a:t>
            </a:r>
          </a:p>
          <a:p>
            <a:pPr marL="285750" indent="-285750">
              <a:buFont typeface="Arial" panose="020B0604020202020204" pitchFamily="34" charset="0"/>
              <a:buChar char="•"/>
            </a:pPr>
            <a:r>
              <a:rPr lang="en-IN" sz="1400" dirty="0">
                <a:solidFill>
                  <a:srgbClr val="00B0F0"/>
                </a:solidFill>
              </a:rPr>
              <a:t>Named Entity Recognition </a:t>
            </a:r>
          </a:p>
        </p:txBody>
      </p:sp>
      <p:cxnSp>
        <p:nvCxnSpPr>
          <p:cNvPr id="28" name="Straight Arrow Connector 27">
            <a:extLst>
              <a:ext uri="{FF2B5EF4-FFF2-40B4-BE49-F238E27FC236}">
                <a16:creationId xmlns:a16="http://schemas.microsoft.com/office/drawing/2014/main" id="{6B4889AF-EF07-7900-360C-549961E473CD}"/>
              </a:ext>
            </a:extLst>
          </p:cNvPr>
          <p:cNvCxnSpPr>
            <a:cxnSpLocks/>
          </p:cNvCxnSpPr>
          <p:nvPr/>
        </p:nvCxnSpPr>
        <p:spPr>
          <a:xfrm>
            <a:off x="3218876" y="4431956"/>
            <a:ext cx="821944"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Oval 28">
            <a:extLst>
              <a:ext uri="{FF2B5EF4-FFF2-40B4-BE49-F238E27FC236}">
                <a16:creationId xmlns:a16="http://schemas.microsoft.com/office/drawing/2014/main" id="{526CD3E6-E488-94DB-035D-674650DA77DB}"/>
              </a:ext>
            </a:extLst>
          </p:cNvPr>
          <p:cNvSpPr/>
          <p:nvPr/>
        </p:nvSpPr>
        <p:spPr>
          <a:xfrm>
            <a:off x="4055790" y="3937613"/>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2000-2010</a:t>
            </a:r>
            <a:endParaRPr lang="en-IN" b="1" dirty="0"/>
          </a:p>
        </p:txBody>
      </p:sp>
      <p:sp>
        <p:nvSpPr>
          <p:cNvPr id="30" name="TextBox 29">
            <a:extLst>
              <a:ext uri="{FF2B5EF4-FFF2-40B4-BE49-F238E27FC236}">
                <a16:creationId xmlns:a16="http://schemas.microsoft.com/office/drawing/2014/main" id="{6F9EFA83-EF61-CA9D-A974-4F43DDB900C1}"/>
              </a:ext>
            </a:extLst>
          </p:cNvPr>
          <p:cNvSpPr txBox="1"/>
          <p:nvPr/>
        </p:nvSpPr>
        <p:spPr>
          <a:xfrm>
            <a:off x="3532191" y="4919688"/>
            <a:ext cx="2405559"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Machine Learning Resurgence </a:t>
            </a:r>
          </a:p>
          <a:p>
            <a:pPr marL="285750" indent="-285750">
              <a:buFont typeface="Arial" panose="020B0604020202020204" pitchFamily="34" charset="0"/>
              <a:buChar char="•"/>
            </a:pPr>
            <a:r>
              <a:rPr lang="en-US" sz="1400" dirty="0">
                <a:solidFill>
                  <a:srgbClr val="00B0F0"/>
                </a:solidFill>
              </a:rPr>
              <a:t>Conversational Agents</a:t>
            </a:r>
          </a:p>
          <a:p>
            <a:pPr marL="285750" indent="-285750">
              <a:buFont typeface="Arial" panose="020B0604020202020204" pitchFamily="34" charset="0"/>
              <a:buChar char="•"/>
            </a:pPr>
            <a:r>
              <a:rPr lang="en-IN" sz="1400" dirty="0">
                <a:solidFill>
                  <a:srgbClr val="00B0F0"/>
                </a:solidFill>
              </a:rPr>
              <a:t>Word Embeddings</a:t>
            </a:r>
          </a:p>
          <a:p>
            <a:pPr marL="285750" indent="-285750">
              <a:buFont typeface="Arial" panose="020B0604020202020204" pitchFamily="34" charset="0"/>
              <a:buChar char="•"/>
            </a:pPr>
            <a:r>
              <a:rPr lang="en-IN" sz="1400" dirty="0">
                <a:solidFill>
                  <a:srgbClr val="00B0F0"/>
                </a:solidFill>
              </a:rPr>
              <a:t>Statistical Parsing</a:t>
            </a:r>
          </a:p>
          <a:p>
            <a:pPr marL="285750" indent="-285750">
              <a:buFont typeface="Arial" panose="020B0604020202020204" pitchFamily="34" charset="0"/>
              <a:buChar char="•"/>
            </a:pPr>
            <a:r>
              <a:rPr lang="en-US" sz="1400" dirty="0">
                <a:solidFill>
                  <a:srgbClr val="00B0F0"/>
                </a:solidFill>
              </a:rPr>
              <a:t>Semantic Analysis and Sentiment Analysis</a:t>
            </a:r>
            <a:endParaRPr lang="en-IN" sz="1400" dirty="0">
              <a:solidFill>
                <a:srgbClr val="00B0F0"/>
              </a:solidFill>
            </a:endParaRPr>
          </a:p>
        </p:txBody>
      </p:sp>
      <p:cxnSp>
        <p:nvCxnSpPr>
          <p:cNvPr id="31" name="Straight Arrow Connector 30">
            <a:extLst>
              <a:ext uri="{FF2B5EF4-FFF2-40B4-BE49-F238E27FC236}">
                <a16:creationId xmlns:a16="http://schemas.microsoft.com/office/drawing/2014/main" id="{9C1661DB-C903-8BBD-AF74-E2FC997EF338}"/>
              </a:ext>
            </a:extLst>
          </p:cNvPr>
          <p:cNvCxnSpPr>
            <a:cxnSpLocks/>
          </p:cNvCxnSpPr>
          <p:nvPr/>
        </p:nvCxnSpPr>
        <p:spPr>
          <a:xfrm>
            <a:off x="5937750" y="4445782"/>
            <a:ext cx="998670"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Oval 31">
            <a:extLst>
              <a:ext uri="{FF2B5EF4-FFF2-40B4-BE49-F238E27FC236}">
                <a16:creationId xmlns:a16="http://schemas.microsoft.com/office/drawing/2014/main" id="{12E3992C-CC08-3935-4F81-F066C2181711}"/>
              </a:ext>
            </a:extLst>
          </p:cNvPr>
          <p:cNvSpPr/>
          <p:nvPr/>
        </p:nvSpPr>
        <p:spPr>
          <a:xfrm>
            <a:off x="6948117" y="3898611"/>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2010-2020</a:t>
            </a:r>
            <a:endParaRPr lang="en-IN" b="1" dirty="0"/>
          </a:p>
        </p:txBody>
      </p:sp>
      <p:sp>
        <p:nvSpPr>
          <p:cNvPr id="33" name="TextBox 32">
            <a:extLst>
              <a:ext uri="{FF2B5EF4-FFF2-40B4-BE49-F238E27FC236}">
                <a16:creationId xmlns:a16="http://schemas.microsoft.com/office/drawing/2014/main" id="{96AE2D58-F127-D826-26AD-6A3BB2EA8623}"/>
              </a:ext>
            </a:extLst>
          </p:cNvPr>
          <p:cNvSpPr txBox="1"/>
          <p:nvPr/>
        </p:nvSpPr>
        <p:spPr>
          <a:xfrm>
            <a:off x="6461349" y="4823178"/>
            <a:ext cx="240555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Deep Learning</a:t>
            </a:r>
          </a:p>
          <a:p>
            <a:pPr marL="285750" indent="-285750">
              <a:buFont typeface="Arial" panose="020B0604020202020204" pitchFamily="34" charset="0"/>
              <a:buChar char="•"/>
            </a:pPr>
            <a:r>
              <a:rPr lang="en-US" sz="1400" dirty="0">
                <a:solidFill>
                  <a:srgbClr val="00B0F0"/>
                </a:solidFill>
              </a:rPr>
              <a:t>Transformers</a:t>
            </a:r>
          </a:p>
          <a:p>
            <a:pPr marL="285750" indent="-285750">
              <a:buFont typeface="Arial" panose="020B0604020202020204" pitchFamily="34" charset="0"/>
              <a:buChar char="•"/>
            </a:pPr>
            <a:r>
              <a:rPr lang="en-US" sz="1400" dirty="0">
                <a:solidFill>
                  <a:srgbClr val="00B0F0"/>
                </a:solidFill>
              </a:rPr>
              <a:t>Transfer Learning</a:t>
            </a:r>
          </a:p>
          <a:p>
            <a:pPr marL="285750" indent="-285750">
              <a:buFont typeface="Arial" panose="020B0604020202020204" pitchFamily="34" charset="0"/>
              <a:buChar char="•"/>
            </a:pPr>
            <a:r>
              <a:rPr lang="en-US" sz="1400" dirty="0">
                <a:solidFill>
                  <a:srgbClr val="00B0F0"/>
                </a:solidFill>
              </a:rPr>
              <a:t>Multimodal Learning</a:t>
            </a:r>
          </a:p>
          <a:p>
            <a:pPr marL="285750" indent="-285750">
              <a:buFont typeface="Arial" panose="020B0604020202020204" pitchFamily="34" charset="0"/>
              <a:buChar char="•"/>
            </a:pPr>
            <a:r>
              <a:rPr lang="en-IN" sz="1400" dirty="0">
                <a:solidFill>
                  <a:srgbClr val="00B0F0"/>
                </a:solidFill>
              </a:rPr>
              <a:t>Ethical Considerations</a:t>
            </a:r>
          </a:p>
          <a:p>
            <a:pPr marL="285750" indent="-285750">
              <a:buFont typeface="Arial" panose="020B0604020202020204" pitchFamily="34" charset="0"/>
              <a:buChar char="•"/>
            </a:pPr>
            <a:r>
              <a:rPr lang="en-IN" sz="1400" dirty="0">
                <a:solidFill>
                  <a:srgbClr val="00B0F0"/>
                </a:solidFill>
              </a:rPr>
              <a:t>Industry Adoption</a:t>
            </a:r>
          </a:p>
        </p:txBody>
      </p:sp>
      <p:cxnSp>
        <p:nvCxnSpPr>
          <p:cNvPr id="37" name="Straight Arrow Connector 36">
            <a:extLst>
              <a:ext uri="{FF2B5EF4-FFF2-40B4-BE49-F238E27FC236}">
                <a16:creationId xmlns:a16="http://schemas.microsoft.com/office/drawing/2014/main" id="{6C0A5099-0575-9C3B-6013-A6284B2FBD38}"/>
              </a:ext>
            </a:extLst>
          </p:cNvPr>
          <p:cNvCxnSpPr>
            <a:cxnSpLocks/>
          </p:cNvCxnSpPr>
          <p:nvPr/>
        </p:nvCxnSpPr>
        <p:spPr>
          <a:xfrm>
            <a:off x="8390223" y="2070155"/>
            <a:ext cx="999799" cy="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8" name="Oval 37">
            <a:extLst>
              <a:ext uri="{FF2B5EF4-FFF2-40B4-BE49-F238E27FC236}">
                <a16:creationId xmlns:a16="http://schemas.microsoft.com/office/drawing/2014/main" id="{803C266B-505F-8A76-B4DF-969D79E4A352}"/>
              </a:ext>
            </a:extLst>
          </p:cNvPr>
          <p:cNvSpPr/>
          <p:nvPr/>
        </p:nvSpPr>
        <p:spPr>
          <a:xfrm>
            <a:off x="9369057" y="1598844"/>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1980-1990</a:t>
            </a:r>
            <a:endParaRPr lang="en-IN" b="1" dirty="0"/>
          </a:p>
        </p:txBody>
      </p:sp>
      <p:cxnSp>
        <p:nvCxnSpPr>
          <p:cNvPr id="42" name="Straight Arrow Connector 41">
            <a:extLst>
              <a:ext uri="{FF2B5EF4-FFF2-40B4-BE49-F238E27FC236}">
                <a16:creationId xmlns:a16="http://schemas.microsoft.com/office/drawing/2014/main" id="{8D84B5D6-62E8-D163-AFB9-BAAB524BC03E}"/>
              </a:ext>
            </a:extLst>
          </p:cNvPr>
          <p:cNvCxnSpPr>
            <a:cxnSpLocks/>
          </p:cNvCxnSpPr>
          <p:nvPr/>
        </p:nvCxnSpPr>
        <p:spPr>
          <a:xfrm flipV="1">
            <a:off x="11232750" y="2070155"/>
            <a:ext cx="715410" cy="7500"/>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8" name="TextBox 47">
            <a:extLst>
              <a:ext uri="{FF2B5EF4-FFF2-40B4-BE49-F238E27FC236}">
                <a16:creationId xmlns:a16="http://schemas.microsoft.com/office/drawing/2014/main" id="{D10BECE0-8C77-9682-34CB-765CCE6BFB87}"/>
              </a:ext>
            </a:extLst>
          </p:cNvPr>
          <p:cNvSpPr txBox="1"/>
          <p:nvPr/>
        </p:nvSpPr>
        <p:spPr>
          <a:xfrm>
            <a:off x="9061790" y="2548828"/>
            <a:ext cx="299812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B0F0"/>
                </a:solidFill>
              </a:rPr>
              <a:t>HPSG-Head-Driven Phrase Structure Grammar</a:t>
            </a:r>
          </a:p>
          <a:p>
            <a:pPr marL="285750" indent="-285750">
              <a:buFont typeface="Arial" panose="020B0604020202020204" pitchFamily="34" charset="0"/>
              <a:buChar char="•"/>
            </a:pPr>
            <a:r>
              <a:rPr lang="en-IN" sz="1400" dirty="0">
                <a:solidFill>
                  <a:srgbClr val="00B0F0"/>
                </a:solidFill>
              </a:rPr>
              <a:t>Statistical NLP </a:t>
            </a:r>
          </a:p>
          <a:p>
            <a:pPr marL="285750" indent="-285750">
              <a:buFont typeface="Arial" panose="020B0604020202020204" pitchFamily="34" charset="0"/>
              <a:buChar char="•"/>
            </a:pPr>
            <a:r>
              <a:rPr lang="en-IN" sz="1400" dirty="0">
                <a:solidFill>
                  <a:srgbClr val="00B0F0"/>
                </a:solidFill>
              </a:rPr>
              <a:t>Word Sense Disambiguation</a:t>
            </a:r>
          </a:p>
          <a:p>
            <a:pPr marL="285750" indent="-285750">
              <a:buFont typeface="Arial" panose="020B0604020202020204" pitchFamily="34" charset="0"/>
              <a:buChar char="•"/>
            </a:pPr>
            <a:r>
              <a:rPr lang="en-IN" sz="1400" dirty="0">
                <a:solidFill>
                  <a:srgbClr val="00B0F0"/>
                </a:solidFill>
              </a:rPr>
              <a:t>Parts of Speech Tagging</a:t>
            </a:r>
          </a:p>
          <a:p>
            <a:pPr marL="285750" indent="-285750">
              <a:buFont typeface="Arial" panose="020B0604020202020204" pitchFamily="34" charset="0"/>
              <a:buChar char="•"/>
            </a:pPr>
            <a:endParaRPr lang="en-IN" sz="1400" dirty="0">
              <a:solidFill>
                <a:srgbClr val="00B0F0"/>
              </a:solidFill>
            </a:endParaRPr>
          </a:p>
        </p:txBody>
      </p:sp>
      <p:sp>
        <p:nvSpPr>
          <p:cNvPr id="50" name="Oval 49">
            <a:extLst>
              <a:ext uri="{FF2B5EF4-FFF2-40B4-BE49-F238E27FC236}">
                <a16:creationId xmlns:a16="http://schemas.microsoft.com/office/drawing/2014/main" id="{D8CCBFA5-09F1-32D2-6E10-5442667BEDB4}"/>
              </a:ext>
            </a:extLst>
          </p:cNvPr>
          <p:cNvSpPr/>
          <p:nvPr/>
        </p:nvSpPr>
        <p:spPr>
          <a:xfrm>
            <a:off x="9570058" y="3937613"/>
            <a:ext cx="1881960" cy="98868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2020-2024</a:t>
            </a:r>
            <a:endParaRPr lang="en-IN" b="1" dirty="0"/>
          </a:p>
        </p:txBody>
      </p:sp>
      <p:cxnSp>
        <p:nvCxnSpPr>
          <p:cNvPr id="51" name="Straight Arrow Connector 50">
            <a:extLst>
              <a:ext uri="{FF2B5EF4-FFF2-40B4-BE49-F238E27FC236}">
                <a16:creationId xmlns:a16="http://schemas.microsoft.com/office/drawing/2014/main" id="{137FDA16-2DA1-57CA-59CA-512787557D4E}"/>
              </a:ext>
            </a:extLst>
          </p:cNvPr>
          <p:cNvCxnSpPr>
            <a:cxnSpLocks/>
          </p:cNvCxnSpPr>
          <p:nvPr/>
        </p:nvCxnSpPr>
        <p:spPr>
          <a:xfrm>
            <a:off x="8816066" y="4415470"/>
            <a:ext cx="774974" cy="30312"/>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3" name="Straight Arrow Connector 52">
            <a:extLst>
              <a:ext uri="{FF2B5EF4-FFF2-40B4-BE49-F238E27FC236}">
                <a16:creationId xmlns:a16="http://schemas.microsoft.com/office/drawing/2014/main" id="{B1A99AED-2953-612A-0E43-278E89795088}"/>
              </a:ext>
            </a:extLst>
          </p:cNvPr>
          <p:cNvCxnSpPr>
            <a:cxnSpLocks/>
          </p:cNvCxnSpPr>
          <p:nvPr/>
        </p:nvCxnSpPr>
        <p:spPr>
          <a:xfrm>
            <a:off x="11427287" y="4437310"/>
            <a:ext cx="632632" cy="8472"/>
          </a:xfrm>
          <a:prstGeom prst="straightConnector1">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5" name="TextBox 54">
            <a:extLst>
              <a:ext uri="{FF2B5EF4-FFF2-40B4-BE49-F238E27FC236}">
                <a16:creationId xmlns:a16="http://schemas.microsoft.com/office/drawing/2014/main" id="{BB0488CB-AA8F-983E-9E06-023F23D58A2F}"/>
              </a:ext>
            </a:extLst>
          </p:cNvPr>
          <p:cNvSpPr txBox="1"/>
          <p:nvPr/>
        </p:nvSpPr>
        <p:spPr>
          <a:xfrm>
            <a:off x="9369057" y="4968722"/>
            <a:ext cx="2506443" cy="1384995"/>
          </a:xfrm>
          <a:prstGeom prst="rect">
            <a:avLst/>
          </a:prstGeom>
          <a:noFill/>
        </p:spPr>
        <p:txBody>
          <a:bodyPr wrap="square" rtlCol="0">
            <a:spAutoFit/>
          </a:bodyPr>
          <a:lstStyle/>
          <a:p>
            <a:pPr marL="285750" indent="-285750">
              <a:buFont typeface="Arial" panose="020B0604020202020204" pitchFamily="34" charset="0"/>
              <a:buChar char="•"/>
            </a:pPr>
            <a:r>
              <a:rPr lang="en-IN" sz="1400" dirty="0">
                <a:solidFill>
                  <a:srgbClr val="00B0F0"/>
                </a:solidFill>
              </a:rPr>
              <a:t>Language Understanding Evaluation Benchmarks</a:t>
            </a:r>
          </a:p>
          <a:p>
            <a:pPr marL="285750" indent="-285750">
              <a:buFont typeface="Arial" panose="020B0604020202020204" pitchFamily="34" charset="0"/>
              <a:buChar char="•"/>
            </a:pPr>
            <a:r>
              <a:rPr lang="en-IN" sz="1400" dirty="0">
                <a:solidFill>
                  <a:srgbClr val="00B0F0"/>
                </a:solidFill>
              </a:rPr>
              <a:t>Large Language Models</a:t>
            </a:r>
          </a:p>
          <a:p>
            <a:pPr marL="285750" indent="-285750">
              <a:buFont typeface="Arial" panose="020B0604020202020204" pitchFamily="34" charset="0"/>
              <a:buChar char="•"/>
            </a:pPr>
            <a:r>
              <a:rPr lang="en-IN" sz="1400" dirty="0">
                <a:solidFill>
                  <a:srgbClr val="00B0F0"/>
                </a:solidFill>
              </a:rPr>
              <a:t>Conversational AI</a:t>
            </a:r>
          </a:p>
          <a:p>
            <a:pPr marL="285750" indent="-285750">
              <a:buFont typeface="Arial" panose="020B0604020202020204" pitchFamily="34" charset="0"/>
              <a:buChar char="•"/>
            </a:pPr>
            <a:r>
              <a:rPr lang="en-IN" sz="1400" dirty="0">
                <a:solidFill>
                  <a:srgbClr val="00B0F0"/>
                </a:solidFill>
              </a:rPr>
              <a:t>Model Distillation and  quantization techniques.</a:t>
            </a:r>
          </a:p>
        </p:txBody>
      </p:sp>
    </p:spTree>
    <p:extLst>
      <p:ext uri="{BB962C8B-B14F-4D97-AF65-F5344CB8AC3E}">
        <p14:creationId xmlns:p14="http://schemas.microsoft.com/office/powerpoint/2010/main" val="3340830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E46B127-037A-020E-730A-981121E297DE}"/>
              </a:ext>
            </a:extLst>
          </p:cNvPr>
          <p:cNvSpPr>
            <a:spLocks noGrp="1"/>
          </p:cNvSpPr>
          <p:nvPr>
            <p:ph type="title"/>
          </p:nvPr>
        </p:nvSpPr>
        <p:spPr>
          <a:xfrm>
            <a:off x="1371599" y="294538"/>
            <a:ext cx="9895951" cy="1033669"/>
          </a:xfrm>
        </p:spPr>
        <p:txBody>
          <a:bodyPr>
            <a:normAutofit fontScale="90000"/>
          </a:bodyPr>
          <a:lstStyle/>
          <a:p>
            <a:r>
              <a:rPr lang="en-US" sz="7200" dirty="0"/>
              <a:t>Applications of NLP -1 </a:t>
            </a:r>
            <a:endParaRPr lang="en-IN" sz="4000" dirty="0">
              <a:solidFill>
                <a:srgbClr val="FFFFFF"/>
              </a:solidFill>
            </a:endParaRPr>
          </a:p>
        </p:txBody>
      </p:sp>
      <p:sp>
        <p:nvSpPr>
          <p:cNvPr id="4" name="Content Placeholder 2">
            <a:extLst>
              <a:ext uri="{FF2B5EF4-FFF2-40B4-BE49-F238E27FC236}">
                <a16:creationId xmlns:a16="http://schemas.microsoft.com/office/drawing/2014/main" id="{63724F97-8346-89D8-7CB1-EA3CD49ACBBB}"/>
              </a:ext>
            </a:extLst>
          </p:cNvPr>
          <p:cNvSpPr txBox="1">
            <a:spLocks/>
          </p:cNvSpPr>
          <p:nvPr/>
        </p:nvSpPr>
        <p:spPr>
          <a:xfrm>
            <a:off x="581270" y="1628424"/>
            <a:ext cx="11198831" cy="6092575"/>
          </a:xfrm>
          <a:prstGeom prst="rect">
            <a:avLst/>
          </a:prstGeom>
        </p:spPr>
        <p:txBody>
          <a:bodyPr wrap="square" lIns="0" tIns="0" rIns="0" bIns="0">
            <a:normAutofit/>
          </a:bodyPr>
          <a:lstStyle>
            <a:lvl1pPr marL="0">
              <a:defRPr>
                <a:latin typeface="+mn-lt"/>
                <a:ea typeface="+mn-ea"/>
                <a:cs typeface="+mn-cs"/>
              </a:defRPr>
            </a:lvl1pPr>
            <a:lvl2pPr marL="233812">
              <a:defRPr>
                <a:latin typeface="+mn-lt"/>
                <a:ea typeface="+mn-ea"/>
                <a:cs typeface="+mn-cs"/>
              </a:defRPr>
            </a:lvl2pPr>
            <a:lvl3pPr marL="467624">
              <a:defRPr>
                <a:latin typeface="+mn-lt"/>
                <a:ea typeface="+mn-ea"/>
                <a:cs typeface="+mn-cs"/>
              </a:defRPr>
            </a:lvl3pPr>
            <a:lvl4pPr marL="701436">
              <a:defRPr>
                <a:latin typeface="+mn-lt"/>
                <a:ea typeface="+mn-ea"/>
                <a:cs typeface="+mn-cs"/>
              </a:defRPr>
            </a:lvl4pPr>
            <a:lvl5pPr marL="935248">
              <a:defRPr>
                <a:latin typeface="+mn-lt"/>
                <a:ea typeface="+mn-ea"/>
                <a:cs typeface="+mn-cs"/>
              </a:defRPr>
            </a:lvl5pPr>
            <a:lvl6pPr marL="1169060">
              <a:defRPr>
                <a:latin typeface="+mn-lt"/>
                <a:ea typeface="+mn-ea"/>
                <a:cs typeface="+mn-cs"/>
              </a:defRPr>
            </a:lvl6pPr>
            <a:lvl7pPr marL="1402872">
              <a:defRPr>
                <a:latin typeface="+mn-lt"/>
                <a:ea typeface="+mn-ea"/>
                <a:cs typeface="+mn-cs"/>
              </a:defRPr>
            </a:lvl7pPr>
            <a:lvl8pPr marL="1636685">
              <a:defRPr>
                <a:latin typeface="+mn-lt"/>
                <a:ea typeface="+mn-ea"/>
                <a:cs typeface="+mn-cs"/>
              </a:defRPr>
            </a:lvl8pPr>
            <a:lvl9pPr marL="1870497">
              <a:defRPr>
                <a:latin typeface="+mn-lt"/>
                <a:ea typeface="+mn-ea"/>
                <a:cs typeface="+mn-cs"/>
              </a:defRPr>
            </a:lvl9pPr>
          </a:lstStyle>
          <a:p>
            <a:pPr marL="285750" indent="-285750">
              <a:lnSpc>
                <a:spcPct val="130000"/>
              </a:lnSpc>
              <a:buFont typeface="Arial" panose="020B0604020202020204" pitchFamily="34" charset="0"/>
              <a:buChar char="•"/>
            </a:pPr>
            <a:r>
              <a:rPr lang="en-US" sz="2000" b="1" kern="0" dirty="0">
                <a:solidFill>
                  <a:sysClr val="windowText" lastClr="000000"/>
                </a:solidFill>
              </a:rPr>
              <a:t>Improved User Experience: </a:t>
            </a:r>
            <a:r>
              <a:rPr lang="en-US" sz="2000" kern="0" dirty="0">
                <a:solidFill>
                  <a:sysClr val="windowText" lastClr="000000"/>
                </a:solidFill>
              </a:rPr>
              <a:t>NLP enables more natural and intuitive interfaces, such as voice assistants and chatbots, which enhance user experience by allowing users to interact with technology using their natural language. This simplifies complex tasks and reduces the learning curve for using new applications.</a:t>
            </a:r>
          </a:p>
          <a:p>
            <a:pPr marL="285750" indent="-285750">
              <a:lnSpc>
                <a:spcPct val="130000"/>
              </a:lnSpc>
              <a:buFont typeface="Arial" panose="020B0604020202020204" pitchFamily="34" charset="0"/>
              <a:buChar char="•"/>
            </a:pPr>
            <a:r>
              <a:rPr lang="en-US" sz="2000" b="1" kern="0" dirty="0">
                <a:solidFill>
                  <a:sysClr val="windowText" lastClr="000000"/>
                </a:solidFill>
              </a:rPr>
              <a:t>Efficient Information Retrieval: </a:t>
            </a:r>
            <a:r>
              <a:rPr lang="en-US" sz="2000" kern="0" dirty="0">
                <a:solidFill>
                  <a:sysClr val="windowText" lastClr="000000"/>
                </a:solidFill>
              </a:rPr>
              <a:t>NLP techniques power search engines to understand and interpret user queries, enabling more accurate and relevant search results. This improves the efficiency of information retrieval, saving time for users and helping them find the information they need more quickly.</a:t>
            </a:r>
          </a:p>
          <a:p>
            <a:pPr marL="285750" indent="-285750">
              <a:lnSpc>
                <a:spcPct val="130000"/>
              </a:lnSpc>
              <a:buFont typeface="Arial" panose="020B0604020202020204" pitchFamily="34" charset="0"/>
              <a:buChar char="•"/>
            </a:pPr>
            <a:r>
              <a:rPr lang="en-US" sz="2000" b="1" kern="0" dirty="0">
                <a:solidFill>
                  <a:sysClr val="windowText" lastClr="000000"/>
                </a:solidFill>
              </a:rPr>
              <a:t>Automated Analysis of Large Datasets: </a:t>
            </a:r>
            <a:r>
              <a:rPr lang="en-US" sz="2000" kern="0" dirty="0">
                <a:solidFill>
                  <a:sysClr val="windowText" lastClr="000000"/>
                </a:solidFill>
              </a:rPr>
              <a:t>NLP enables automated analysis of large volumes of text data, such as customer feedback, social media posts, and news articles. By extracting valuable insights, trends, and patterns from this data, NLP empowers organizations to make data-driven decisions more efficiently.</a:t>
            </a:r>
          </a:p>
          <a:p>
            <a:pPr marL="285750" indent="-285750">
              <a:lnSpc>
                <a:spcPct val="130000"/>
              </a:lnSpc>
              <a:buFont typeface="Arial" panose="020B0604020202020204" pitchFamily="34" charset="0"/>
              <a:buChar char="•"/>
            </a:pPr>
            <a:r>
              <a:rPr lang="en-US" sz="2000" b="1" kern="0" dirty="0">
                <a:solidFill>
                  <a:sysClr val="windowText" lastClr="000000"/>
                </a:solidFill>
              </a:rPr>
              <a:t>Language Translation: </a:t>
            </a:r>
            <a:r>
              <a:rPr lang="en-US" sz="2000" kern="0" dirty="0">
                <a:solidFill>
                  <a:sysClr val="windowText" lastClr="000000"/>
                </a:solidFill>
              </a:rPr>
              <a:t>NLP powers machine translation systems that facilitate communication and collaboration across language barriers. This has significant implications for global businesses, international diplomacy, and cross-cultural understanding.</a:t>
            </a:r>
          </a:p>
        </p:txBody>
      </p:sp>
    </p:spTree>
    <p:extLst>
      <p:ext uri="{BB962C8B-B14F-4D97-AF65-F5344CB8AC3E}">
        <p14:creationId xmlns:p14="http://schemas.microsoft.com/office/powerpoint/2010/main" val="2794465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A6C227-125F-FF84-B459-5D89707B31DD}"/>
              </a:ext>
            </a:extLst>
          </p:cNvPr>
          <p:cNvSpPr>
            <a:spLocks noGrp="1"/>
          </p:cNvSpPr>
          <p:nvPr>
            <p:ph type="title"/>
          </p:nvPr>
        </p:nvSpPr>
        <p:spPr>
          <a:xfrm>
            <a:off x="1371599" y="294538"/>
            <a:ext cx="9895951" cy="1033669"/>
          </a:xfrm>
        </p:spPr>
        <p:txBody>
          <a:bodyPr>
            <a:normAutofit fontScale="90000"/>
          </a:bodyPr>
          <a:lstStyle/>
          <a:p>
            <a:r>
              <a:rPr lang="en-US" sz="7200" dirty="0"/>
              <a:t>Applications of NLP -2 </a:t>
            </a:r>
            <a:endParaRPr lang="en-IN" sz="4000" dirty="0">
              <a:solidFill>
                <a:srgbClr val="FFFFFF"/>
              </a:solidFill>
            </a:endParaRPr>
          </a:p>
        </p:txBody>
      </p:sp>
      <p:sp>
        <p:nvSpPr>
          <p:cNvPr id="4" name="Content Placeholder 2">
            <a:extLst>
              <a:ext uri="{FF2B5EF4-FFF2-40B4-BE49-F238E27FC236}">
                <a16:creationId xmlns:a16="http://schemas.microsoft.com/office/drawing/2014/main" id="{88926029-C3CC-7D63-4343-9036F3701EA6}"/>
              </a:ext>
            </a:extLst>
          </p:cNvPr>
          <p:cNvSpPr txBox="1">
            <a:spLocks/>
          </p:cNvSpPr>
          <p:nvPr/>
        </p:nvSpPr>
        <p:spPr>
          <a:xfrm>
            <a:off x="374044" y="1597432"/>
            <a:ext cx="11198831" cy="6092575"/>
          </a:xfrm>
          <a:prstGeom prst="rect">
            <a:avLst/>
          </a:prstGeom>
        </p:spPr>
        <p:txBody>
          <a:bodyPr wrap="square" lIns="0" tIns="0" rIns="0" bIns="0">
            <a:normAutofit/>
          </a:bodyPr>
          <a:lstStyle>
            <a:lvl1pPr marL="0">
              <a:defRPr>
                <a:latin typeface="+mn-lt"/>
                <a:ea typeface="+mn-ea"/>
                <a:cs typeface="+mn-cs"/>
              </a:defRPr>
            </a:lvl1pPr>
            <a:lvl2pPr marL="233812">
              <a:defRPr>
                <a:latin typeface="+mn-lt"/>
                <a:ea typeface="+mn-ea"/>
                <a:cs typeface="+mn-cs"/>
              </a:defRPr>
            </a:lvl2pPr>
            <a:lvl3pPr marL="467624">
              <a:defRPr>
                <a:latin typeface="+mn-lt"/>
                <a:ea typeface="+mn-ea"/>
                <a:cs typeface="+mn-cs"/>
              </a:defRPr>
            </a:lvl3pPr>
            <a:lvl4pPr marL="701436">
              <a:defRPr>
                <a:latin typeface="+mn-lt"/>
                <a:ea typeface="+mn-ea"/>
                <a:cs typeface="+mn-cs"/>
              </a:defRPr>
            </a:lvl4pPr>
            <a:lvl5pPr marL="935248">
              <a:defRPr>
                <a:latin typeface="+mn-lt"/>
                <a:ea typeface="+mn-ea"/>
                <a:cs typeface="+mn-cs"/>
              </a:defRPr>
            </a:lvl5pPr>
            <a:lvl6pPr marL="1169060">
              <a:defRPr>
                <a:latin typeface="+mn-lt"/>
                <a:ea typeface="+mn-ea"/>
                <a:cs typeface="+mn-cs"/>
              </a:defRPr>
            </a:lvl6pPr>
            <a:lvl7pPr marL="1402872">
              <a:defRPr>
                <a:latin typeface="+mn-lt"/>
                <a:ea typeface="+mn-ea"/>
                <a:cs typeface="+mn-cs"/>
              </a:defRPr>
            </a:lvl7pPr>
            <a:lvl8pPr marL="1636685">
              <a:defRPr>
                <a:latin typeface="+mn-lt"/>
                <a:ea typeface="+mn-ea"/>
                <a:cs typeface="+mn-cs"/>
              </a:defRPr>
            </a:lvl8pPr>
            <a:lvl9pPr marL="1870497">
              <a:defRPr>
                <a:latin typeface="+mn-lt"/>
                <a:ea typeface="+mn-ea"/>
                <a:cs typeface="+mn-cs"/>
              </a:defRPr>
            </a:lvl9pPr>
          </a:lstStyle>
          <a:p>
            <a:pPr marL="342900" indent="-342900">
              <a:lnSpc>
                <a:spcPct val="130000"/>
              </a:lnSpc>
              <a:buFont typeface="Arial" panose="020B0604020202020204" pitchFamily="34" charset="0"/>
              <a:buChar char="•"/>
            </a:pPr>
            <a:r>
              <a:rPr lang="en-US" sz="2000" b="1" kern="0" dirty="0">
                <a:solidFill>
                  <a:sysClr val="windowText" lastClr="000000"/>
                </a:solidFill>
              </a:rPr>
              <a:t>Sentiment Analysis and Opinion Mining: </a:t>
            </a:r>
            <a:r>
              <a:rPr lang="en-US" sz="2000" kern="0" dirty="0">
                <a:solidFill>
                  <a:sysClr val="windowText" lastClr="000000"/>
                </a:solidFill>
              </a:rPr>
              <a:t>NLP techniques enable sentiment analysis and opinion mining, allowing organizations to gauge public sentiment, customer satisfaction, and brand perception from text data sources such as social media, customer reviews, and surveys. This information can inform marketing strategies, product development, and customer service initiatives.</a:t>
            </a:r>
          </a:p>
          <a:p>
            <a:pPr marL="342900" indent="-342900">
              <a:lnSpc>
                <a:spcPct val="130000"/>
              </a:lnSpc>
              <a:buFont typeface="Arial" panose="020B0604020202020204" pitchFamily="34" charset="0"/>
              <a:buChar char="•"/>
            </a:pPr>
            <a:r>
              <a:rPr lang="en-US" sz="2000" b="1" kern="0" dirty="0">
                <a:solidFill>
                  <a:sysClr val="windowText" lastClr="000000"/>
                </a:solidFill>
              </a:rPr>
              <a:t>Content Generation and Personalization:</a:t>
            </a:r>
            <a:r>
              <a:rPr lang="en-US" sz="2000" kern="0" dirty="0">
                <a:solidFill>
                  <a:sysClr val="windowText" lastClr="000000"/>
                </a:solidFill>
              </a:rPr>
              <a:t> NLP facilitates content generation and personalization by automatically generating text-based content, such as product descriptions, news articles, and personalized recommendations. This helps businesses deliver relevant and engaging content to their audience at scale.</a:t>
            </a:r>
          </a:p>
          <a:p>
            <a:pPr marL="342900" indent="-342900">
              <a:lnSpc>
                <a:spcPct val="130000"/>
              </a:lnSpc>
              <a:buFont typeface="Arial" panose="020B0604020202020204" pitchFamily="34" charset="0"/>
              <a:buChar char="•"/>
            </a:pPr>
            <a:r>
              <a:rPr lang="en-US" sz="2000" b="1" kern="0" dirty="0">
                <a:solidFill>
                  <a:sysClr val="windowText" lastClr="000000"/>
                </a:solidFill>
              </a:rPr>
              <a:t>Enhanced Decision-Making: </a:t>
            </a:r>
            <a:r>
              <a:rPr lang="en-US" sz="2000" kern="0" dirty="0">
                <a:solidFill>
                  <a:sysClr val="windowText" lastClr="000000"/>
                </a:solidFill>
              </a:rPr>
              <a:t>By providing valuable insights from text data, NLP empowers decision-makers to make more informed and timely decisions. Whether it's identifying emerging trends, understanding customer feedback, or assessing market sentiment, NLP-driven insights can support strategic planning and decision-making across various domains.</a:t>
            </a:r>
            <a:endParaRPr lang="en-IN" sz="2000" kern="0" dirty="0">
              <a:solidFill>
                <a:sysClr val="windowText" lastClr="000000"/>
              </a:solidFill>
            </a:endParaRPr>
          </a:p>
        </p:txBody>
      </p:sp>
    </p:spTree>
    <p:extLst>
      <p:ext uri="{BB962C8B-B14F-4D97-AF65-F5344CB8AC3E}">
        <p14:creationId xmlns:p14="http://schemas.microsoft.com/office/powerpoint/2010/main" val="1663221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31E0DDC-FDCC-678A-2B37-3858EA431FCE}"/>
              </a:ext>
            </a:extLst>
          </p:cNvPr>
          <p:cNvSpPr>
            <a:spLocks noGrp="1"/>
          </p:cNvSpPr>
          <p:nvPr>
            <p:ph type="title"/>
          </p:nvPr>
        </p:nvSpPr>
        <p:spPr>
          <a:xfrm>
            <a:off x="1383564" y="348865"/>
            <a:ext cx="9718111" cy="1576446"/>
          </a:xfrm>
        </p:spPr>
        <p:txBody>
          <a:bodyPr vert="horz" lIns="91440" tIns="45720" rIns="91440" bIns="45720" rtlCol="0" anchor="ctr">
            <a:normAutofit/>
          </a:bodyPr>
          <a:lstStyle/>
          <a:p>
            <a:pPr algn="l" rtl="0">
              <a:lnSpc>
                <a:spcPct val="90000"/>
              </a:lnSpc>
              <a:spcBef>
                <a:spcPct val="0"/>
              </a:spcBef>
            </a:pPr>
            <a:r>
              <a:rPr lang="en-US" sz="4000" kern="1200">
                <a:solidFill>
                  <a:srgbClr val="FFFFFF"/>
                </a:solidFill>
                <a:latin typeface="+mj-lt"/>
                <a:ea typeface="+mj-ea"/>
                <a:cs typeface="+mj-cs"/>
              </a:rPr>
              <a:t> NLP Business Use Cases</a:t>
            </a:r>
          </a:p>
        </p:txBody>
      </p:sp>
      <p:graphicFrame>
        <p:nvGraphicFramePr>
          <p:cNvPr id="33" name="Content Placeholder 2">
            <a:extLst>
              <a:ext uri="{FF2B5EF4-FFF2-40B4-BE49-F238E27FC236}">
                <a16:creationId xmlns:a16="http://schemas.microsoft.com/office/drawing/2014/main" id="{A2B0ADA2-94ED-8B8F-CD8A-B135F846D595}"/>
              </a:ext>
            </a:extLst>
          </p:cNvPr>
          <p:cNvGraphicFramePr/>
          <p:nvPr>
            <p:extLst>
              <p:ext uri="{D42A27DB-BD31-4B8C-83A1-F6EECF244321}">
                <p14:modId xmlns:p14="http://schemas.microsoft.com/office/powerpoint/2010/main" val="2413382435"/>
              </p:ext>
            </p:extLst>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2646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EFD753D-6A49-46DD-9E82-AA6E2C62B4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138A5824-1F4A-4EE7-BC13-5BB48FC080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0044" y="321732"/>
            <a:ext cx="4568741" cy="6192603"/>
          </a:xfrm>
          <a:prstGeom prst="rect">
            <a:avLst/>
          </a:prstGeom>
          <a:solidFill>
            <a:srgbClr val="333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DAA85B5-70E5-59DF-FC5D-3D28B8E8CA61}"/>
              </a:ext>
            </a:extLst>
          </p:cNvPr>
          <p:cNvSpPr>
            <a:spLocks noGrp="1"/>
          </p:cNvSpPr>
          <p:nvPr>
            <p:ph type="title"/>
          </p:nvPr>
        </p:nvSpPr>
        <p:spPr>
          <a:xfrm>
            <a:off x="798257" y="637523"/>
            <a:ext cx="3608896" cy="1690993"/>
          </a:xfrm>
        </p:spPr>
        <p:txBody>
          <a:bodyPr anchor="b">
            <a:normAutofit/>
          </a:bodyPr>
          <a:lstStyle/>
          <a:p>
            <a:r>
              <a:rPr lang="en-US" sz="3600">
                <a:solidFill>
                  <a:srgbClr val="FFFFFF"/>
                </a:solidFill>
              </a:rPr>
              <a:t>Brand Monitoring</a:t>
            </a:r>
            <a:endParaRPr lang="en-IN" sz="3600">
              <a:solidFill>
                <a:srgbClr val="FFFFFF"/>
              </a:solidFill>
            </a:endParaRPr>
          </a:p>
        </p:txBody>
      </p:sp>
      <p:pic>
        <p:nvPicPr>
          <p:cNvPr id="7" name="Picture 12">
            <a:extLst>
              <a:ext uri="{FF2B5EF4-FFF2-40B4-BE49-F238E27FC236}">
                <a16:creationId xmlns:a16="http://schemas.microsoft.com/office/drawing/2014/main" id="{C9DF4D05-7CEF-99A9-EB06-F27246A2E0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061" r="5" b="24830"/>
          <a:stretch/>
        </p:blipFill>
        <p:spPr bwMode="auto">
          <a:xfrm>
            <a:off x="4968250" y="325905"/>
            <a:ext cx="2249424" cy="200261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C581233-0499-C5BC-1142-D7837D8E7B9D}"/>
              </a:ext>
            </a:extLst>
          </p:cNvPr>
          <p:cNvSpPr>
            <a:spLocks noGrp="1"/>
          </p:cNvSpPr>
          <p:nvPr>
            <p:ph type="body" idx="1"/>
          </p:nvPr>
        </p:nvSpPr>
        <p:spPr>
          <a:xfrm>
            <a:off x="798256" y="2474260"/>
            <a:ext cx="3607930" cy="3677158"/>
          </a:xfrm>
        </p:spPr>
        <p:txBody>
          <a:bodyPr anchor="t">
            <a:normAutofit/>
          </a:bodyPr>
          <a:lstStyle/>
          <a:p>
            <a:pPr>
              <a:spcAft>
                <a:spcPts val="600"/>
              </a:spcAft>
            </a:pPr>
            <a:r>
              <a:rPr lang="en-US" sz="2000" dirty="0">
                <a:solidFill>
                  <a:srgbClr val="FFFFFF"/>
                </a:solidFill>
              </a:rPr>
              <a:t>Customer Feedback Analytics</a:t>
            </a:r>
          </a:p>
          <a:p>
            <a:pPr>
              <a:spcAft>
                <a:spcPts val="600"/>
              </a:spcAft>
            </a:pPr>
            <a:r>
              <a:rPr lang="en-US" sz="2000" dirty="0">
                <a:solidFill>
                  <a:srgbClr val="FFFFFF"/>
                </a:solidFill>
              </a:rPr>
              <a:t>	Sentiment Analysis</a:t>
            </a:r>
          </a:p>
          <a:p>
            <a:pPr>
              <a:spcAft>
                <a:spcPts val="600"/>
              </a:spcAft>
            </a:pPr>
            <a:r>
              <a:rPr lang="en-US" sz="2000" dirty="0">
                <a:solidFill>
                  <a:srgbClr val="FFFFFF"/>
                </a:solidFill>
              </a:rPr>
              <a:t>	Intent Detection</a:t>
            </a:r>
          </a:p>
          <a:p>
            <a:pPr>
              <a:spcAft>
                <a:spcPts val="600"/>
              </a:spcAft>
            </a:pPr>
            <a:endParaRPr lang="en-IN" sz="2000" dirty="0">
              <a:solidFill>
                <a:srgbClr val="FFFFFF"/>
              </a:solidFill>
            </a:endParaRPr>
          </a:p>
        </p:txBody>
      </p:sp>
      <p:pic>
        <p:nvPicPr>
          <p:cNvPr id="9" name="Picture 2">
            <a:extLst>
              <a:ext uri="{FF2B5EF4-FFF2-40B4-BE49-F238E27FC236}">
                <a16:creationId xmlns:a16="http://schemas.microsoft.com/office/drawing/2014/main" id="{862FD5F6-6D1B-515A-71A7-D1141FA377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62" r="7" b="7"/>
          <a:stretch/>
        </p:blipFill>
        <p:spPr bwMode="auto">
          <a:xfrm>
            <a:off x="4968251" y="2419956"/>
            <a:ext cx="2249424" cy="200261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a:extLst>
              <a:ext uri="{FF2B5EF4-FFF2-40B4-BE49-F238E27FC236}">
                <a16:creationId xmlns:a16="http://schemas.microsoft.com/office/drawing/2014/main" id="{A1EAC0D8-63AA-466D-EAEF-B616BB7C725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9425" b="1"/>
          <a:stretch/>
        </p:blipFill>
        <p:spPr bwMode="auto">
          <a:xfrm>
            <a:off x="7295203" y="325904"/>
            <a:ext cx="4570677" cy="30655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a:extLst>
              <a:ext uri="{FF2B5EF4-FFF2-40B4-BE49-F238E27FC236}">
                <a16:creationId xmlns:a16="http://schemas.microsoft.com/office/drawing/2014/main" id="{10AB5AF1-2E31-C8AB-7B23-137370F9ACA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2995" r="-3" b="-3"/>
          <a:stretch/>
        </p:blipFill>
        <p:spPr bwMode="auto">
          <a:xfrm>
            <a:off x="4976656" y="4511800"/>
            <a:ext cx="2249424" cy="200253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203C063C-79C9-4293-8A60-7FF70C8D60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456" b="-2"/>
          <a:stretch/>
        </p:blipFill>
        <p:spPr bwMode="auto">
          <a:xfrm>
            <a:off x="7295203" y="3474720"/>
            <a:ext cx="4570677" cy="3053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525725"/>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etrospectVTI">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Retrospect">
      <a:majorFont>
        <a:latin typeface="Bookman Old Style"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Franklin Gothic Book"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0D3833691AB241A9D2DF6F2EA50CBC" ma:contentTypeVersion="6" ma:contentTypeDescription="Create a new document." ma:contentTypeScope="" ma:versionID="346e891f1abefd94442a47b4ac446b06">
  <xsd:schema xmlns:xsd="http://www.w3.org/2001/XMLSchema" xmlns:xs="http://www.w3.org/2001/XMLSchema" xmlns:p="http://schemas.microsoft.com/office/2006/metadata/properties" xmlns:ns2="69b4f25b-746f-4903-8100-a4e2d86800ba" xmlns:ns3="38978a43-17d0-4f76-ac97-f19054c1f398" targetNamespace="http://schemas.microsoft.com/office/2006/metadata/properties" ma:root="true" ma:fieldsID="243c90e75c65f278cfbd622fcf9f6162" ns2:_="" ns3:_="">
    <xsd:import namespace="69b4f25b-746f-4903-8100-a4e2d86800ba"/>
    <xsd:import namespace="38978a43-17d0-4f76-ac97-f19054c1f3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b4f25b-746f-4903-8100-a4e2d86800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8978a43-17d0-4f76-ac97-f19054c1f39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7B0B92-F1BC-4E2F-9BF7-4F9D22944E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b4f25b-746f-4903-8100-a4e2d86800ba"/>
    <ds:schemaRef ds:uri="38978a43-17d0-4f76-ac97-f19054c1f3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A3F7EDC-E5B4-4BBC-9D2A-CBE6D46C37AD}">
  <ds:schemaRefs>
    <ds:schemaRef ds:uri="http://schemas.microsoft.com/sharepoint/v3/contenttype/forms"/>
  </ds:schemaRefs>
</ds:datastoreItem>
</file>

<file path=customXml/itemProps3.xml><?xml version="1.0" encoding="utf-8"?>
<ds:datastoreItem xmlns:ds="http://schemas.openxmlformats.org/officeDocument/2006/customXml" ds:itemID="{A03EEFF0-FB57-4CB4-8BFC-DF397689E2ED}">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E2F23024-A34A-46FC-A846-7C0618F7C17F}tf22712842_win32</Template>
  <TotalTime>7344</TotalTime>
  <Words>6585</Words>
  <Application>Microsoft Office PowerPoint</Application>
  <PresentationFormat>Widescreen</PresentationFormat>
  <Paragraphs>970</Paragraphs>
  <Slides>46</Slides>
  <Notes>9</Notes>
  <HiddenSlides>0</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67" baseType="lpstr">
      <vt:lpstr>Aptos</vt:lpstr>
      <vt:lpstr>arial</vt:lpstr>
      <vt:lpstr>arial</vt:lpstr>
      <vt:lpstr>Bookman Old Style</vt:lpstr>
      <vt:lpstr>Calibri</vt:lpstr>
      <vt:lpstr>Franklin Gothic Book</vt:lpstr>
      <vt:lpstr>Lato</vt:lpstr>
      <vt:lpstr>Open Sans</vt:lpstr>
      <vt:lpstr>Roboto Light</vt:lpstr>
      <vt:lpstr>Segoe UI</vt:lpstr>
      <vt:lpstr>Segoe UI Light</vt:lpstr>
      <vt:lpstr>Söhne</vt:lpstr>
      <vt:lpstr>Source Sans Pro</vt:lpstr>
      <vt:lpstr>source-serif-pro</vt:lpstr>
      <vt:lpstr>Tw Cen MT</vt:lpstr>
      <vt:lpstr>ui-sans-serif</vt:lpstr>
      <vt:lpstr>Whitney SSm A</vt:lpstr>
      <vt:lpstr>Wingdings</vt:lpstr>
      <vt:lpstr>1_RetrospectVTI</vt:lpstr>
      <vt:lpstr>Office Theme</vt:lpstr>
      <vt:lpstr>think-cell Slide</vt:lpstr>
      <vt:lpstr> Natural Language Processing</vt:lpstr>
      <vt:lpstr>PowerPoint Presentation</vt:lpstr>
      <vt:lpstr> What ?????????</vt:lpstr>
      <vt:lpstr>Why ?????????</vt:lpstr>
      <vt:lpstr>NLP History Timeline</vt:lpstr>
      <vt:lpstr>Applications of NLP -1 </vt:lpstr>
      <vt:lpstr>Applications of NLP -2 </vt:lpstr>
      <vt:lpstr> NLP Business Use Cases</vt:lpstr>
      <vt:lpstr>Brand Monitoring</vt:lpstr>
      <vt:lpstr>Five Phases of NLP</vt:lpstr>
      <vt:lpstr>Key Challenges</vt:lpstr>
      <vt:lpstr>Ambiguity At Various NLP Stages</vt:lpstr>
      <vt:lpstr>NLP Subfields</vt:lpstr>
      <vt:lpstr>Components of NLG</vt:lpstr>
      <vt:lpstr> Types of NLG Systems</vt:lpstr>
      <vt:lpstr>Language Modeling</vt:lpstr>
      <vt:lpstr>Probabilistic Language models</vt:lpstr>
      <vt:lpstr> Calculation of Next word Probability</vt:lpstr>
      <vt:lpstr>PowerPoint Presentation</vt:lpstr>
      <vt:lpstr>NLP Tools</vt:lpstr>
      <vt:lpstr>Key points </vt:lpstr>
      <vt:lpstr>PowerPoint Presentation</vt:lpstr>
      <vt:lpstr>Knowledge Representation</vt:lpstr>
      <vt:lpstr>NLP Algorithms-1</vt:lpstr>
      <vt:lpstr>PowerPoint Presentation</vt:lpstr>
      <vt:lpstr>NLP Algorithms-2</vt:lpstr>
      <vt:lpstr>Cosine Similarity of docs</vt:lpstr>
      <vt:lpstr>Collocations</vt:lpstr>
      <vt:lpstr>Collocations</vt:lpstr>
      <vt:lpstr>Evaluating Language Models</vt:lpstr>
      <vt:lpstr>Estimating the Parameters :Sampling </vt:lpstr>
      <vt:lpstr>Estimating the Parameters :Smoothing</vt:lpstr>
      <vt:lpstr>Text Preprocessing</vt:lpstr>
      <vt:lpstr>Text Pre Processing</vt:lpstr>
      <vt:lpstr>Bags of Words</vt:lpstr>
      <vt:lpstr>Doc1 : I like natural language processing but I don’t love python Doc2: I love image processing and I like python doc3: I like image processing and signal processing</vt:lpstr>
      <vt:lpstr>TF IDF</vt:lpstr>
      <vt:lpstr>Calculating TF-IDF</vt:lpstr>
      <vt:lpstr>Calculating TF IDF</vt:lpstr>
      <vt:lpstr>Summary –Bags of Words , TF-IDF</vt:lpstr>
      <vt:lpstr>Word Embeddings –Word2Vec Representations</vt:lpstr>
      <vt:lpstr>Regex- Regular Expressions</vt:lpstr>
      <vt:lpstr>Regex- Regular Expressions</vt:lpstr>
      <vt:lpstr>Regex Flags</vt:lpstr>
      <vt:lpstr>Regex Methods</vt:lpstr>
      <vt:lpstr>Named Entity Recogni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ural Language Processing</dc:title>
  <dc:creator>uma tamilvendhan</dc:creator>
  <cp:lastModifiedBy>uma Maheswari</cp:lastModifiedBy>
  <cp:revision>37</cp:revision>
  <dcterms:created xsi:type="dcterms:W3CDTF">2022-02-10T04:48:44Z</dcterms:created>
  <dcterms:modified xsi:type="dcterms:W3CDTF">2024-10-23T11:2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0D3833691AB241A9D2DF6F2EA50CBC</vt:lpwstr>
  </property>
</Properties>
</file>